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Masters/notesMaster1.xml" ContentType="application/vnd.openxmlformats-officedocument.presentationml.notesMaster+xml"/>
  <Override PartName="/ppt/ink/ink72.xml" ContentType="application/inkml+xml"/>
  <Override PartName="/ppt/theme/theme1.xml" ContentType="application/vnd.openxmlformats-officedocument.theme+xml"/>
  <Override PartName="/ppt/ink/ink73.xml" ContentType="application/inkml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58.xml" ContentType="application/inkml+xml"/>
  <Override PartName="/ppt/ink/ink66.xml" ContentType="application/inkml+xml"/>
  <Override PartName="/ppt/ink/ink65.xml" ContentType="application/inkml+xml"/>
  <Override PartName="/ppt/ink/ink64.xml" ContentType="application/inkml+xml"/>
  <Override PartName="/ppt/ink/ink67.xml" ContentType="application/inkml+xml"/>
  <Override PartName="/ppt/ink/ink63.xml" ContentType="application/inkml+xml"/>
  <Override PartName="/ppt/ink/ink62.xml" ContentType="application/inkml+xml"/>
  <Override PartName="/ppt/ink/ink61.xml" ContentType="application/inkml+xml"/>
  <Override PartName="/ppt/ink/ink60.xml" ContentType="application/inkml+xml"/>
  <Override PartName="/ppt/ink/ink59.xml" ContentType="application/inkml+xml"/>
  <Override PartName="/ppt/ink/ink57.xml" ContentType="application/inkml+xml"/>
  <Override PartName="/ppt/ink/ink56.xml" ContentType="application/inkml+xml"/>
  <Override PartName="/ppt/ink/ink55.xml" ContentType="application/inkml+xml"/>
  <Override PartName="/ppt/ink/ink54.xml" ContentType="application/inkml+xml"/>
  <Override PartName="/ppt/ink/ink53.xml" ContentType="application/inkml+xml"/>
  <Override PartName="/ppt/ink/ink52.xml" ContentType="application/inkml+xml"/>
  <Override PartName="/ppt/ink/ink51.xml" ContentType="application/inkml+xml"/>
  <Override PartName="/ppt/ink/ink50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621" r:id="rId2"/>
    <p:sldId id="3941" r:id="rId3"/>
    <p:sldId id="2972" r:id="rId4"/>
    <p:sldId id="3949" r:id="rId5"/>
    <p:sldId id="3960" r:id="rId6"/>
    <p:sldId id="3959" r:id="rId7"/>
    <p:sldId id="3965" r:id="rId8"/>
    <p:sldId id="3968" r:id="rId9"/>
    <p:sldId id="3977" r:id="rId10"/>
    <p:sldId id="3978" r:id="rId11"/>
    <p:sldId id="3979" r:id="rId12"/>
    <p:sldId id="3980" r:id="rId13"/>
    <p:sldId id="3981" r:id="rId14"/>
    <p:sldId id="3982" r:id="rId15"/>
    <p:sldId id="3983" r:id="rId16"/>
    <p:sldId id="3984" r:id="rId17"/>
    <p:sldId id="3985" r:id="rId18"/>
    <p:sldId id="3986" r:id="rId19"/>
    <p:sldId id="3987" r:id="rId20"/>
    <p:sldId id="3988" r:id="rId21"/>
    <p:sldId id="3989" r:id="rId22"/>
    <p:sldId id="3990" r:id="rId23"/>
    <p:sldId id="3991" r:id="rId24"/>
    <p:sldId id="3992" r:id="rId25"/>
    <p:sldId id="3993" r:id="rId26"/>
    <p:sldId id="3994" r:id="rId27"/>
    <p:sldId id="3995" r:id="rId28"/>
    <p:sldId id="3996" r:id="rId29"/>
    <p:sldId id="3997" r:id="rId30"/>
    <p:sldId id="3998" r:id="rId31"/>
    <p:sldId id="4003" r:id="rId32"/>
    <p:sldId id="3999" r:id="rId33"/>
    <p:sldId id="4000" r:id="rId34"/>
  </p:sldIdLst>
  <p:sldSz cx="12192000" cy="6858000"/>
  <p:notesSz cx="6886575" cy="100171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7E8A1E-DEBD-4187-AFCE-863DF5B844AD}">
          <p14:sldIdLst>
            <p14:sldId id="621"/>
          </p14:sldIdLst>
        </p14:section>
        <p14:section name="UML" id="{44F9810C-B8D0-4943-8CDB-6C8AD4DF840A}">
          <p14:sldIdLst>
            <p14:sldId id="3941"/>
            <p14:sldId id="2972"/>
            <p14:sldId id="3949"/>
            <p14:sldId id="3960"/>
            <p14:sldId id="3959"/>
            <p14:sldId id="3965"/>
            <p14:sldId id="3968"/>
          </p14:sldIdLst>
        </p14:section>
        <p14:section name="XML" id="{15C5ADF5-E33C-4C32-B5E5-022B9FC33E4D}">
          <p14:sldIdLst>
            <p14:sldId id="3977"/>
            <p14:sldId id="3978"/>
            <p14:sldId id="3979"/>
            <p14:sldId id="3980"/>
            <p14:sldId id="3981"/>
            <p14:sldId id="3982"/>
            <p14:sldId id="3983"/>
            <p14:sldId id="3984"/>
            <p14:sldId id="3985"/>
            <p14:sldId id="3986"/>
            <p14:sldId id="3987"/>
            <p14:sldId id="3988"/>
            <p14:sldId id="3989"/>
            <p14:sldId id="3990"/>
          </p14:sldIdLst>
        </p14:section>
        <p14:section name="Programmierung" id="{75DC3DE0-642C-44EB-AAE0-0FACA5749FE7}">
          <p14:sldIdLst>
            <p14:sldId id="3991"/>
            <p14:sldId id="3992"/>
            <p14:sldId id="3993"/>
            <p14:sldId id="3994"/>
            <p14:sldId id="3995"/>
            <p14:sldId id="3996"/>
            <p14:sldId id="3997"/>
            <p14:sldId id="3998"/>
            <p14:sldId id="4003"/>
            <p14:sldId id="3999"/>
            <p14:sldId id="40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311377-52EA-468E-8BC9-AA5365A12E61}" v="199" dt="2025-09-26T10:45:45.4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3" autoAdjust="0"/>
    <p:restoredTop sz="76427" autoAdjust="0"/>
  </p:normalViewPr>
  <p:slideViewPr>
    <p:cSldViewPr snapToGrid="0">
      <p:cViewPr varScale="1">
        <p:scale>
          <a:sx n="117" d="100"/>
          <a:sy n="117" d="100"/>
        </p:scale>
        <p:origin x="108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ustomXml" Target="../customXml/item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openxmlformats.org/officeDocument/2006/relationships/customXml" Target="../customXml/item3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024" units="cm"/>
          <inkml:channel name="T" type="integer" max="2.14748E9" units="dev"/>
        </inkml:traceFormat>
        <inkml:channelProperties>
          <inkml:channelProperty channel="X" name="resolution" value="56.63717" units="1/cm"/>
          <inkml:channelProperty channel="Y" name="resolution" value="28.36565" units="1/cm"/>
          <inkml:channelProperty channel="T" name="resolution" value="1" units="1/dev"/>
        </inkml:channelProperties>
      </inkml:inkSource>
      <inkml:timestamp xml:id="ts0" timeString="2018-07-18T06:11:18.671"/>
    </inkml:context>
    <inkml:brush xml:id="br0">
      <inkml:brushProperty name="width" value="0.04667" units="cm"/>
      <inkml:brushProperty name="height" value="0.04667" units="cm"/>
      <inkml:brushProperty name="fitToCurve" value="1"/>
    </inkml:brush>
  </inkml:definitions>
  <inkml:trace contextRef="#ctx0" brushRef="#br0">0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27.72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1233'0'0,"-1214"1"0,0 1 0,34 8 0,-33-6 0,0 0 0,25 1 0,452-4 0,-239-2 0,-239 2 0,0 1 0,33 7 0,34 4 0,629-11 0,-349-5 0,11 3-1365,-355 0-5461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6.40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4'0'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6.64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8'4'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18:11.1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06 65,'0'-4,"-4"-1,-5-4,-5 0,-7 1,-5 2,-1 2,4-1,-3-1,-3 1,2 1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18:12.12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52,'4'-4,"5"-1,5 0,7 1,13-3,3 0,0-3,-6 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3T09:00:02.04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911 703,'0'-2,"-1"1,0-1,0 1,0-1,0 1,0-1,0 1,0 0,0-1,0 1,0 0,-1 0,1 0,-3-2,-13-12,14 9,0 1,0-1,-1 1,0 0,0 0,-9-7,13 12,-1 0,1-1,-1 1,1-1,-1 1,1 0,-1 0,1-1,-1 1,0 0,1 0,-1 0,0 0,1-1,-1 1,0 0,1 0,-1 0,0 0,1 1,-1-1,1 0,-1 0,0 0,1 0,-1 1,0-1,-1 2,1-1,0 1,0 0,0-1,0 1,0 0,0-1,0 1,0 0,1 0,-1 0,1 0,-1 0,1 3,-1 0,0 0,0 1,0-1,1 0,0 1,0-1,0 1,1-1,0 0,0 1,0-1,1 0,0 0,0 0,0 0,0 0,1 0,0-1,0 1,0-1,0 0,1 0,0 0,0 0,0-1,0 1,0-1,1 0,0 0,-1-1,1 1,8 2,7 3,-5 0,1 0,0-2,0 0,1-1,0-1,28 4,-45-8,1 1,-1-1,0 0,0 0,0 0,1 0,-1 0,0 0,0 0,1 0,-1 0,0 0,0 0,1 0,-1 0,0 0,0-1,1 1,-1 0,0 0,0 0,0 0,1 0,-1 0,0-1,0 1,0 0,1 0,-1 0,0 0,0-1,0 1,0 0,0 0,0 0,1-1,-1 1,0 0,0 0,0-1,0 1,0 0,0-1,-8-10,-14-8,-20-7,22 15,1-1,0-1,1-1,-19-18,-200-206,237 238,-1-1,1 1,-1 0,1 0,-1-1,1 1,0 0,-1-1,1 1,0 0,-1-1,1 1,0-1,0 1,-1-1,1 1,0 0,0-1,0 1,-1-1,1 1,0-1,0 1,0-1,0 1,0-1,0 1,0-1,0 1,0-1,0 1,0-1,1 1,-1-1,17-2,26 9,-38-4,0 0,0 0,0 1,0-1,0 1,0 0,-1 1,1-1,-1 1,0 0,6 6,32 55,-37-54,2 0,-1 0,1-1,1 0,0 0,15 14,-2-1,-18-19,0 0,0-1,0 1,1-1,-1 0,1 0,0 0,6 4,-9-7,0-1,0 1,-1 0,1 0,0-1,-1 1,1 0,0-1,-1 1,1 0,0-1,-1 1,1-1,-1 1,1-1,-1 1,1-1,-1 0,1 1,-1-1,0 1,1-1,-1 0,0 0,1 1,-1-1,0 0,0 1,0-1,0 0,0 0,0 1,0-1,0-1,2-28,-4 18,0 1,-1 0,0 1,-1-1,0 1,-1-1,0 1,0 0,-1 1,-1-1,0 1,-12-13,-21-32,24 33,0 1,-1 0,-1 2,-1 0,0 1,-1 0,-38-22,-4-2,36 22,-55-28,1 1,60 33,0 1,-1 1,-34-13,-21-8,55 21,0 2,-27-8,41 15,0 0,0 1,0 0,0 0,-1 1,1 0,0 0,0 1,0-1,0 2,-10 2,1 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3T09:00:09.26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138 3028,'1'-9,"-1"0,0 0,-1 1,0-1,-1 0,1 1,-2-1,1 1,-1-1,0 1,-1 0,0 0,0 0,-1 1,0 0,0 0,-1 0,0 0,0 1,0 0,-11-8,-53-48,35 30,-44-32,36 35,2-2,-43-43,-16-2,91 69,-1 1,0-1,0 1,-1 1,1 0,-1 1,0 0,-1 0,1 1,-1 1,-17-2,15 2,1 0,0-1,0 0,0-1,1-1,-1 0,1 0,-15-10,9 4,-1 2,0 0,0 1,-1 1,0 1,0 1,-1 0,-22-1,-49-14,-16-24,61 33,30 9,1-2,0 0,0-1,0 0,1-1,-1-1,2-1,-18-11,3-1,0 1,-56-26,-12-7,75 39,-44-16,50 23,1 0,0-1,1 0,0-2,0 1,-24-21,30 22,0 1,0 1,-1 0,1 0,-14-6,12 7,0-1,1 0,0-1,-15-11,10 6,-1 0,-1 1,0 0,-22-9,22 12,0-1,1-1,0-1,-26-20,24 16,-1 0,-1 2,0 0,-29-13,-20-11,32 14,14 10,1-2,0 0,1-1,-23-22,26 20,-1 1,0 0,-2 2,-34-22,38 26,0-1,0-1,1 0,-22-24,1 1,8 10,7 6,-33-35,-46-46,52 52,36 37,0 0,1-1,1 0,-18-25,3-6,-76-140,25 7,57 140,-1 1,-2 0,-46-56,52 72,0 1,-1 1,-1 1,-1 1,0 0,-1 1,0 1,-1 1,-28-12,-136-42,82 18,29 15,56 27,1-2,-30-15,35 14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3T09:00:13.68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3'1,"1"0,0 1,0 0,0 0,-1 0,1 0,-1 1,0-1,6 6,8 5,-6-4,0-1,-1 1,0 1,-1 0,16 21,11 12,-22-27,-1 1,0 0,11 22,-13-20,1 0,26 30,-23-31,-1 1,-1 0,17 35,5 6,-20-32,-1 0,-1 1,15 49,11 27,-34-90,-1 0,0 0,-1 0,0 0,0 27,7 35,-3-32,-2 0,-2 1,-6 84,1-28,2 527,1-610,1 0,7 33,4 33,-12-54,-2-20,1 1,0-1,1 0,0 1,1-1,0 0,1 0,0 0,1-1,9 20,-4-10,0 0,-2 0,0 1,-1 0,-1 0,2 24,-4-22,1 0,1-1,1 0,2 0,13 30,-8-24,-1 1,-1 0,-1 1,-2 0,0 0,-3 1,3 38,-7-49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3T09:00:20.13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865,'5'-1,"-1"-1,1 1,-1-1,0 1,1-1,-1-1,0 1,6-5,10-5,189-85,-150 70,-34 15,49-18,-48 21,-1-2,0 0,43-29,19-9,-63 36,-1-1,22-17,16-10,-39 25,-1 0,35-36,-34 31,128-106,-133 111,1 0,25-33,-27 30,1 0,20-16,16-1,-40 29,0-2,-1 1,16-15,132-118,-73 52,39-12,-1 1,-12 11,-35 38,-57 39,-1 0,0-2,21-18,-25 18,2 2,-1 0,30-15,-6 4,59-28,-60 31,1 2,70-21,-30 12,-72 23,15-4,-1-2,26-14,-33 16,0 1,1 0,0 1,0 1,0 0,1 2,-1 0,19-1,149 5,-82 2,-98-4,1 1,0 1,0-1,0 1,-1 0,1 0,-1 0,1 1,-1 0,1 0,-1 1,8 4,-2 3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4T09:13:54.249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832 78,'-5'-1,"1"0,-1-1,1 1,0-1,0 0,-1 0,1-1,-6-4,-10-5,-3 3,0 1,-1 1,1 1,-1 1,-1 1,-45-1,-283 6,341-1,1 0,0 1,0 1,0 0,0 0,0 1,1 0,-1 1,1 0,0 1,-18 11,23-13,1 1,0-1,0 1,0 0,1 0,-1 0,1 1,0-1,0 1,0-1,1 1,-1 0,1 0,1 0,-1 1,1-1,-1 0,2 1,-1-1,0 0,1 1,0-1,1 1,-1-1,3 10,5 14,1 0,1 0,2-1,0-1,2 0,1-1,2 0,0-1,25 27,-25-36,1 0,0-1,1-1,22 12,-18-14,1-1,-1-1,2-1,-1-1,27 5,-14-3,44 17,-59-18,0-1,0-1,1-1,0-1,0-1,0-1,40 0,-59-4,0 0,1 0,-1 0,0 0,0 0,0-1,0 0,0 0,0 0,0 0,0-1,-1 0,1 1,-1-1,0 0,0-1,0 1,0-1,-1 1,3-5,30-30,-12 16,-1-2,0 0,-2-1,-1-1,20-35,-33 49,0 1,0-2,-1 1,0-1,-1 1,-1-1,0 0,-1-1,0 1,-1 0,-1-22,0 27,-1 0,0 0,0 1,-1-1,0 0,0 0,-1 1,0 0,0-1,-1 1,0 0,0 1,-1-1,0 1,0 0,0 0,-1 0,0 1,0 0,-11-7,-14-12,-10-6,15 19,0 2,-1 0,-1 2,1 1,-56-6,-143 9,121 5,93-2,1 1,-1 0,1 1,-1 0,1 0,-19 8,26-8,-1 0,0 0,1 0,-1 1,1 0,0 0,-1 0,2 1,-1-1,0 1,1 0,-1 0,1 0,0 0,1 1,-5 8,1 3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4T09:13:59.577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981 482,'0'-3,"0"0,-1-1,1 1,-1-1,0 1,0 0,0-1,0 1,0 0,-1 0,0 0,1 0,-1 0,0 0,-1 0,1 1,0-1,-1 1,1-1,-1 1,0 0,0 0,0 0,-6-2,-7-3,-1 1,0 0,-34-6,36 9,-1 0,1-1,-17-8,19 7,0 0,0 0,-1 1,1 1,-1 1,0 0,-15-1,-6 2,-57 7,77-5,1 2,0 0,0 0,0 1,1 1,-1 1,1-1,0 2,-21 14,3 3,2 1,-36 38,51-48,1 2,0 0,2 0,0 1,1 0,-11 29,-6 11,10-27,-3 6,-26 71,42-98,1 0,1 0,-1 0,2 0,-1 0,1 1,1-1,0 0,0 1,1-1,1 0,3 18,-3-24,0 1,0-1,0 0,1 0,-1 0,1 0,0-1,0 1,0-1,1 1,-1-1,8 5,53 25,-51-27,0 0,0 0,14 11,-3-2,1-1,1-1,0 0,49 14,1 2,-59-23,1-1,-1-1,0-1,1 0,18 0,47 8,-38-4,0-2,1-2,84-6,-28 0,-73 3,0 2,1-2,-1-2,0 0,0-2,0-1,43-13,-49 9,102-42,-109 43,-1-1,0-1,-1 0,0-1,22-21,-25 18,0 1,-1-2,-1 1,-1-1,0-1,0 0,-2 0,0 0,5-24,11-28,-15 51,0-1,-2 0,0 0,-2 0,1-1,-2 1,0-22,-2 7,0-7,-7-69,5 96,-1-1,0 1,-1 0,-1-1,0 2,-1-1,0 1,-15-22,-54-41,54 53,-1 1,-1 1,-48-32,24 25,-1 1,-1 2,-58-20,86 36,-105-39,109 41,0 0,-1 1,-35-6,13 3,8 3,0 1,0 2,0 1,-56 6,84-5,0 1,0 0,1 0,-1 1,0-1,1 1,-1-1,1 1,0 0,-1 1,1-1,0 0,0 1,1 0,-1 0,1 0,-1 0,-2 5,-4 7,1 0,-13 32,13-25,-6 14,1 2,2-1,2 1,2 0,-5 61,9-28,7 84,-2-143,1 0,1 0,0 0,0-1,1 1,1-1,0 0,0-1,1 0,0 0,17 18,8 12,-26-32,0-1,1 0,0-1,0 0,0 0,1 0,0-1,9 5,73 30,-45-22,-24-12,0-1,0 0,0-2,0-1,1 0,-1-2,1 0,24-4,24 1,-5 5,-40 0,-1-1,0-1,1-2,34-5,-54 5,0 0,0 0,0 0,0 0,0-1,-1 0,1 0,-1 0,1 0,-1-1,0 0,-1 0,1 0,-1 0,1 0,-1-1,0 1,3-10,2-5,-1-1,-1 0,6-33,-7 30,9-71,-14 83,1 1,-2 0,1 0,-1 0,-1 0,1 0,-5-12,4 19,1 1,-1-1,0 1,1 0,-1 0,0 0,-1 0,1 0,0 0,-1 0,1 1,0-1,-1 1,0 0,1-1,-1 1,0 0,0 1,0-1,1 1,-1-1,-6 1,-9-1,-1 0,-28 4,20-1,-24 0,29-2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4T10:03:11.07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42 1,'-580'0,"535"4,29 2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4T10:03:12.53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903 0,'2'47,"-1"-33,0 1,0-1,-2 0,0 1,0-1,-6 23,5-34,0 1,-1-1,1 0,-1 0,0 0,1-1,-1 1,0-1,-1 1,1-1,0 0,-1 0,1 0,-1-1,1 1,-1-1,0 0,-6 1,-8 2,0 0,-29 1,-127 21,156-23,-1 1,1 1,-20 9,19-7,-1-1,-24 5,-82 14,70-15,29-4,0-2,-39 1,-9-5,53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4T10:03:15.62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209'0,"-1188"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08.7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3597'0'-1365,"-3576"0"-546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4T10:26:21.03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393 228 24575,'-139'2'0,"-150"-5"0,269 0 0,0-1 0,1-1 0,-29-11 0,-22-5 0,30 12 0,0-1 0,2-3 0,-70-31 0,81 29 0,9 5 0,0 0 0,-1 1 0,0 1 0,0 1 0,-38-9 0,3 6 0,-1 2 0,-87 0 0,101 8 0,7-1 0,-1 2 0,1 1 0,-58 12 0,-108 37 0,183-47 0,1-2 0,-1 1 0,-27-1 0,32-3 0,0 2 0,-1-1 0,1 2 0,0-1 0,0 2 0,0 0 0,1 0 0,-17 7 0,16-3 0,2-3 0,1 0 0,0 1 0,0 0 0,0 0 0,1 1 0,0 1 0,0-1 0,1 1 0,-1 0 0,-11 16 0,13-14 0,-1 0 0,0-1 0,0 0 0,-9 7 0,8-9 0,1 1 0,1 0 0,-1 0 0,1 1 0,-10 16 0,-18 29 0,25-41 0,0 1 0,2 0 0,-11 21 0,10-14 0,-7 18 0,-2 0 0,-32 54 0,41-78 0,2 0 0,0 0 0,1 0 0,0 1 0,1 0 0,0 0 0,-1 17 0,3-14 0,-2 0 0,0-1 0,-1 1 0,-13 28 0,13-34 0,0 1 0,1-1 0,0 1 0,1 0 0,0 0 0,1 0 0,-1 18 0,5 99 0,1-53 0,-3-71 0,-1 27 0,2-1 0,1 1 0,10 49 0,-7-56 0,3 48 0,-8-55 0,2-1 0,0 1 0,1-1 0,1 0 0,10 30 0,-3-25 0,1 1 0,18 25 0,-19-28 0,-1 1 0,-1-1 0,-1 1 0,0 1 0,-2 0 0,4 26 0,-4-19 0,1 0 0,22 54 0,-10-34 0,-2 1 0,17 83 0,-21-76 0,-1 18 0,-10-57 0,1 0 0,0 0 0,2-1 0,7 22 0,-7-28 0,0 1 0,1-1 0,0 0 0,1 0 0,1 0 0,0-1 0,13 14 0,55 75 0,-30-42 0,9 10 0,-7-19 0,-19-18 0,1-2 0,49 37 0,-52-45 0,30 30 0,-25-21 0,40 47 0,114 65 0,-154-121 0,1-1 0,1-1 0,1-2 0,66 22 0,-42-21 0,79 19 0,-87-32 0,0-1 0,90-6 0,-36-1 0,-69 3 0,7 1 0,1-2 0,81-12 0,-110 9 0,-1 1 0,0-2 0,0 0 0,0 0 0,0-2 0,-1 0 0,0 0 0,0-1 0,-1 0 0,0-1 0,-1-1 0,14-14 0,47-37 0,-4 5 0,159-197 0,-218 241 0,1 0 0,-1 0 0,8-16 0,19-27 0,-26 42 0,0-2 0,-1 1 0,-1-2 0,0 1 0,6-17 0,13-28 0,-15 37 0,0 0 0,-2-1 0,-1 0 0,11-45 0,-12 30 0,2 1 0,2 0 0,17-39 0,-19 50 0,-2 1 0,0-1 0,-2-1 0,4-40 0,6-25 0,9-58 0,0 0 0,-18 108 0,-3 0 0,-1 0 0,-6-77 0,1 26 0,1 71 0,-2 0 0,0 1 0,-1-1 0,-1 1 0,-2 0 0,0 0 0,-1 1 0,-1 0 0,-1 0 0,-17-26 0,17 35 0,0 1 0,-1 0 0,0 1 0,-13-10 0,0 0 0,-7-5 0,22 18 0,0 0 0,1 0 0,-1-1 0,2 0 0,-14-16 0,-16-25 0,-11-17 0,35 45 0,-1 1 0,-24-25 0,-7-11 0,9 5 0,-3 2 0,-46-43 0,-15-34 0,19 56 0,70 62 0,-1 0 0,0 1 0,0 1 0,-1-1 0,-19-5 0,17 7 0,1-1 0,0-1 0,1 0 0,-21-14 0,3 2-1365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4T10:00:48.00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0'0'-819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1:29.47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07,'0'-1,"1"0,-1-1,0 1,1 0,-1 0,1 0,-1 0,1 0,0 0,-1 0,1 0,0 0,0 0,0 1,-1-1,1 0,0 0,0 1,0-1,0 0,0 1,1-1,1 0,31-10,-25 9,13-6,-1 0,-1-2,1 0,21-16,-19 11,0 2,42-17,-54 26,16-7,2 2,-1 0,48-6,-44 12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3:14.497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,'1862'0,"-1714"-4,-105-1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3:16.43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02'3,"174"29,-208-21,44 8,219 9,-286-29,-13-1,0 2,0 0,0 3,0 0,-1 2,1 2,36 12,-47-11,1-1,26 5,-20-7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6:29.277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258'2,"276"-5,-389-8,31-1,-154 12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6:30.817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14,'1'0,"-1"-1,0 0,1 0,-1 0,1 0,-1 0,0 0,1 1,0-1,-1 0,1 0,0 1,-1-1,1 1,0-1,-1 0,1 1,0-1,0 1,0 0,0-1,0 1,-1 0,1-1,0 1,0 0,0 0,2 0,32-4,-29 4,252-1,-162 4,129-12,-115-11,-76 12,1 2,52-3,-121 7,1-2,-43-9,-65-9,-74 19,143 4,51-1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6:40.336"/>
    </inkml:context>
    <inkml:brush xml:id="br0">
      <inkml:brushProperty name="width" value="0.3" units="cm"/>
      <inkml:brushProperty name="height" value="0.6" units="cm"/>
      <inkml:brushProperty name="color" value="#FFACD5"/>
      <inkml:brushProperty name="tip" value="rectangle"/>
      <inkml:brushProperty name="rasterOp" value="maskPen"/>
      <inkml:brushProperty name="ignorePressure" value="1"/>
    </inkml:brush>
  </inkml:definitions>
  <inkml:trace contextRef="#ctx0" brushRef="#br0">0 118,'528'2,"560"-5,-165-34,-617-3,-85 7,-129 27,167 10,-109 18,-5-1,-119-19,-1 2,0 0,0 2,39 13,-32-6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07:06:42.188"/>
    </inkml:context>
    <inkml:brush xml:id="br0">
      <inkml:brushProperty name="width" value="0.3" units="cm"/>
      <inkml:brushProperty name="height" value="0.6" units="cm"/>
      <inkml:brushProperty name="color" value="#FFACD5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2303'0,"-2152"11,-16 1,73-1,73 2,-205-14,-56 1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01:36.01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19,'288'2,"595"-19,-536-34,-73 6,-172 38,133 7,-105 3,769-2,-871-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10.6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53 24575,'1234'0'0,"-1216"-1"0,1-1 0,34-8 0,-33 5 0,0 1 0,25-1 0,654 3 0,-341 5 0,749-3 0,-1088-1 0,0-1 0,33-8 0,33-2 0,480 10 0,-274 4 0,-272-1 0,0 1 0,33 8 0,33 3 0,-1-13 0,-50-2 0,1 3 0,-1 0 0,66 13 0,-81-10-455,0-1 0,33 1 0,-31-3-6371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22:27.04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1'4,"-1"1,1 0,-1 0,2 0,-1 0,0-1,1 1,0-1,0 1,0-1,1 1,-1-1,1 0,0 0,0-1,1 1,-1-1,1 1,-1-1,1 0,0 0,1-1,-1 1,0-1,1 0,-1 0,10 3,12 2,0-1,0 0,53 3,-54-7,656 81,-498-52,-97-14,174 11,-253-28,733-3,-673 0,0-3,0-3,-1-3,120-38,-156 41,1 0,0 3,0 0,53-2,128 9,-102 2,2320 1,-1293-6,-841 25,-34 0,-101-24,49 3,-196-1,1 2,-1 0,0 1,17 6,-16-5,1 0,31 5,416 38,-254-15,-144-20,1-3,106 4,145 8,-3 1,742-25,-1021 0,0-2,-1-1,66-19,-64 14,1 2,-1 1,46-2,436-13,-477 16,0-1,0-2,49-17,4-1,46-1,28-7,-122 25,0 2,1 2,74-1,-34 3,68-9,132-5,-22 16,199 5,-305 8,132 2,-263-13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42:42.45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6'4,"0"-1,0-1,0 1,0-1,0 0,1 0,-1-1,1 0,-1 0,1 0,7-1,10 2,384 39,480-14,-424-60,-436 30,87-6,-74 7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42:43.95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46,'391'-12,"8"0,-26 14,402-4,-524-18,-225 19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42:45.43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344 184,'-64'0,"-1"-3,0-2,-100-23,11-4,-236-19,-162 33,405 22,35-1,-138-12,122-10,-77-5,159 23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42:49.68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48,'149'1,"475"-19,-171 10,-267 11,-137-3,646-18,-149 10,-311 11,-18-5,230 5,-405 1,65 14,-70-10,0-1,54 2,392-11,-442 2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5T10:42:52.68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8 1,'0'1,"-1"-1,0 1,1 0,-1-1,1 1,-1 0,1 0,-1-1,1 1,-1 0,1 0,0 0,-1 0,1-1,0 1,0 0,0 0,0 0,0 0,0 0,0 0,0 0,0 0,0 0,0-1,1 1,-1 0,0 0,0 0,1 0,-1 0,1-1,-1 1,1 0,-1 0,1-1,0 1,-1 0,1-1,0 1,-1-1,1 1,0-1,0 1,0-1,1 1,43 19,11-5,0-3,1-2,66 4,180-6,-250-8,2010 1,-894-4,-709 3,-432 2,0 1,0 1,42 12,-24-5,-17-5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3:09.7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8'0'0,"10"0"0,6 0 0,7 0 0,-3 4 0,-1 1 0,6 0 0,1-2 0,2 0 0,12-1 0,8-1 0,-2 3 0,-2 1 0,-9 0-8191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3:10.8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043,'454'567'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3:14.47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1342'0'-1365,"-1316"0"-5461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4:41.0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4'0'0,"5"0"0,5 0 0,3 0 0,12 0 0,3 0 0,9 0 0,5 0 0,2 0 0,1 0 0,-1 0 0,-4 0 0,-9 0-819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11.88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0 24575,'19'0'0,"17"1"0,0-2 0,-1-1 0,52-11 0,-43 6 0,0 2 0,1 2 0,88 6 0,-32-1 0,2464-2-1365,-2544 0-5461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4:41.89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8'0'0,"10"0"0,14 0 0,16 0 0,16 0 0,9 0 0,7 0 0,9 0 0,2 0 0,-12 0 0,-7 0 0,-12 0 0,-5 0 0,-8 0 0,-8 0 0,-6 0 0,-10 0-8191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4:51.59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8'8'0,"14"6"0,7 1 0,6 2 0,2 1 0,-3-1 0,2 3 0,9 6 0,9 11 0,3 2 0,4 3 0,-5-3 0,-9-3 0,-8-8 0,-6-5 0,-10-7-8191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4:52.16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55 24575,'0'4'0,"12"1"0,19 0 0,27-5 0,16-6 0,14-10 0,0-6 0,-3-3 0,-13-1 0,-10-1 0,-12 2 0,-15 4-8191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4:53.0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 0 24575,'-3'0'0,"-6"0"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5T10:44:53.86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07 0 24575,'4'9'0,"-1"0"0,-1 0 0,1 0 0,-1 0 0,-1 1 0,0-1 0,0 0 0,-1 1 0,0-1 0,-1 1 0,0-1 0,0 0 0,-1 1 0,0-1 0,-1 0 0,-5 13 0,-3 3 0,0 0 0,-2-1 0,-1 0 0,-23 30 0,1-9 0,-2-1 0,-2-2 0,-2-2 0,-1-2 0,-2-1 0,-2-3 0,-1-1 0,-1-3 0,-91 40 0,135-67-114,-1-1 1,1 0-1,0 0 0,0 0 0,-1-1 1,1 0-1,-1 0 0,1 0 0,-1-1 1,1 0-1,-9-1 0,-4-3-6712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7:16:59.51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59 0,'-3'0,"0"0,0 1,-1-1,1 1,0 0,0 0,0 0,0 0,0 0,0 1,0-1,0 1,1 0,-1-1,1 2,-3 1,4-3,0-1,1 1,-1 0,1 0,-1 0,1-1,-1 1,1 0,0 0,-1 0,1 0,0 0,0 0,-1 0,1 0,0-1,0 1,0 0,0 0,0 0,1 2,0-2,-1 0,1 1,0-1,0 1,0-1,0 0,0 1,0-1,0 0,1 0,-1 0,0 0,1 0,-1 0,1-1,2 2,19 8,0-1,1-1,1-1,-1-1,1-2,42 4,162-7,-143-3,10 1,-65 1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7:17:00.6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61,'0'-3,"0"1,1-1,-1 1,1-1,0 1,0-1,0 1,0-1,0 1,1 0,-1 0,1 0,-1 0,1 0,0 0,0 0,0 0,0 1,0-1,0 1,0-1,1 1,-1 0,0 0,1 0,-1 0,1 0,-1 1,5-1,12-3,-1 1,1 1,21 0,-19 1,159-4,53-4,-192 5,0-2,0-2,65-21,-85 22,0 0,1 1,0 1,0 2,0 0,25 0,-17 3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8:41:07.21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4'0'0,"5"0"0,5 0 0,7 0 0,9 0 0,6 0 0,5 4 0,0 1 0,0 0 0,-3-1 0,-4-1 0,3-1 0,4-1 0,-1-1 0,-4 0 0,-1 0 0,-5 0-8191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8:41:21.7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1 24575,'5'0'0,"1"0"0,-1 0 0,0 0 0,0 1 0,0 0 0,0 0 0,0 0 0,0 1 0,0-1 0,0 1 0,-1 0 0,1 1 0,-1-1 0,6 4 0,-7-2 0,0-1 0,1 1 0,-1 0 0,-1 0 0,1 0 0,-1 0 0,1 1 0,-1-1 0,0 1 0,-1-1 0,1 1 0,-1 0 0,0 0 0,1 9 0,3 49 0,-2 1 0,-7 82 0,0-16 0,-3 46 0,-43 249 0,4-154 0,38-209 0,3 0 0,2 1 0,7 68 0,-2-15 0,-3 169 0,3 245 0,6-431 0,23 113 0,-27-190 0,14 68 0,-7-37 0,8 94 0,-17 423 0,-4-283 0,2-278 0,-2 31 0,-3-30 0,-7-21 0,-9-28-1365,-3-9-5461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8:41:22.75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3 0 24575,'-1'1'0,"0"-1"0,0 0 0,0 1 0,1-1 0,-1 0 0,0 1 0,0-1 0,0 1 0,0 0 0,1-1 0,-1 1 0,0 0 0,1-1 0,-1 1 0,0 0 0,1 0 0,-1 0 0,1-1 0,-1 1 0,1 0 0,-1 0 0,1 2 0,-9 24 0,8-24 0,-15 67 0,4 0 0,3 1 0,0 80 0,9-148 0,0 0 0,0 0 0,0 0 0,1-1 0,0 1 0,-1 0 0,1 0 0,0-1 0,0 1 0,0-1 0,0 1 0,1-1 0,-1 1 0,1-1 0,0 0 0,-1 0 0,1 0 0,0 0 0,0 0 0,0 0 0,1 0 0,-1 0 0,0-1 0,1 0 0,-1 1 0,1-1 0,-1 0 0,1 0 0,0 0 0,-1 0 0,1-1 0,3 1 0,11 2 0,0 0 0,1-1 0,0-1 0,18-2 0,-15 1 0,34 0 0,212-7 0,-253 6-151,0-2-1,1 0 0,-1 0 0,0-1 1,0-1-1,0 0 0,-1-1 1,19-11-1,-11 1-6674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12.98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2768'0'-1365,"-2747"0"-5461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8:41:23.23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72 1 24575,'-4'0'0,"-5"4"0,-5 9 0,0 10 0,3 12 0,2 9 0,4 11 0,2 9 0,1-3 0,2-4 0,0-8 0,1-12-8191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4:34.26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61,'58'0,"123"-4,-152 2,-1-2,1-1,-1-1,35-13,-28 6,1 3,0 1,0 1,1 3,-1 0,62 2,1173 5,-1204-6,104-18,-61 6,-75 11,57-6,100-1,749 14,-918-2,0 1,1 1,-1 1,-1 1,1 1,29 10,39 14,1-5,99 13,13 3,-6-5,-115-23,119 34,-151-33,0-2,76 6,-75-12,-1 2,70 20,30 22,126 36,-126-43,-80-20,1-3,1-3,126 10,390-25,-258-4,-164 4,193-3,-325-1,0-2,-1-2,1-1,-2-1,1-2,35-16,-27 10,-19 9,0 2,1 0,-1 1,1 2,25-1,123 5,10 0,-14-15,305-15,-398 29,323-17,-376 15,868-69,-726 73,212-3,-287-7,91-18,37-4,287 23,-288 10,2862-3,-2761 11,-3 1,-120-12,277 3,-2 33,-2-3,6-35,-173-1,2231 3,-2163 23,-27 1,728-23,-525-3,-523 1,-1-2,0 0,0-1,-1-1,1-1,20-10,-11 6,51-13,-23 14,95-3,-122 12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4:40.81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51,'2527'0,"-2476"-3,0-2,63-13,-59 8,24 1,0 4,122 7,-61 1,-57 0,89 17,-90-9,87 1,-146-12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4:43.0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84 1,'-3'0,"-6"0,-5 0,-4 0,-3 0,3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4:44.56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486'11,"-86"-1,222-9,178 2,-745-1,0 4,0 1,67 19,-33-7,128 11,94-11,-294-18,258 2,-236-3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4:45.27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7,'8'0,"25"0,39 0,33 0,34 0,24 0,19 0,6 0,-3 0,-16-3,-23-2,-31 0,-36 1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6:37.87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3,"0"0,0-1,1 1,-1 0,1-1,-1 1,1-1,0 1,0 0,0-1,0 0,0 1,1-1,-1 0,1 0,0 1,-1-1,1 0,0-1,0 1,0 0,0-1,1 1,-1-1,0 1,1-1,2 1,7 2,1 0,-1-1,1-1,22 2,-23-2,607 15,-444-19,277 0,611 1,-449 36,53 0,-575-37,92 3,-178-1,-1 1,0 0,0 0,0 0,0 1,0-1,0 1,0 0,0 0,0 1,5 3,-9-4,1-1,-1 1,1-1,-1 1,0 0,0-1,1 1,-1 0,0 0,-1 0,1 0,0-1,0 1,-1 1,1-1,-1 0,0 0,0 0,1 0,-1 0,-1 0,1 0,0 0,0 0,-1 0,1 0,-1 0,0 0,0 0,-1 3,-2 3,-1 0,0 0,-1 0,1-1,-1 0,-1 0,1-1,-1 1,0-2,-1 1,0-1,1 0,-2 0,1-1,-17 6,-12 3,-1-2,-56 9,67-15,-488 63,-7-38,122-10,365-18,25-3,1 1,-1 0,1 1,0 0,-1 0,1 1,0 0,0 1,0 0,0 0,0 1,-11 7,20-11,-1 0,0 0,1 1,-1-1,1 0,-1 1,1-1,0 1,-1-1,1 1,-1-1,1 0,0 1,-1 0,1-1,0 1,-1-1,1 1,0-1,0 1,0-1,0 1,-1 0,1-1,0 1,0-1,0 1,0 0,0-1,1 1,-1 0,0-1,0 1,0-1,0 1,1-1,-1 1,0 0,0-1,1 1,0 0,28 13,13-5,1-1,0-3,0-1,55-3,-34 0,-7 0,485 3,-390-10,236-39,-220 4,-121 27,0 2,1 2,0 2,67-2,-55 11,95-3,-107-2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8:56:39.43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92,'278'-2,"554"17,-689-1,118 5,2230-18,-1157-3,-901 3,484-3,-333-32,7-1,-250 13,-6 0,1063 20,-691 4,-337 0,403-4,-642-8,252-52,-171 23,-147 28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3.51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40 55 24575,'-11'0'0,"0"0"0,0 0 0,1 1 0,-1 1 0,-21 5 0,29-6 0,0 1 0,0-1 0,0 1 0,0 0 0,0-1 0,0 1 0,1 1 0,-1-1 0,1 0 0,0 1 0,-1-1 0,1 1 0,0 0 0,1-1 0,-1 1 0,0 0 0,1 0 0,0 0 0,-1 0 0,1 1 0,0-1 0,1 0 0,-2 6 0,1 4 0,-1 0 0,2 1 0,-1-1 0,2 1 0,0-1 0,1 0 0,0 0 0,1 1 0,0-1 0,1-1 0,8 19 0,-10-25 0,1 0 0,0 0 0,0 0 0,1-1 0,0 1 0,0-1 0,0 0 0,0 0 0,1 0 0,0-1 0,0 0 0,0 0 0,1 0 0,-1 0 0,1-1 0,0 0 0,0 0 0,0-1 0,0 1 0,0-1 0,1-1 0,-1 1 0,1-1 0,10 1 0,-10-2 0,0 0 0,0 0 0,0-1 0,0 1 0,0-2 0,-1 1 0,1-1 0,0 0 0,-1 0 0,1-1 0,-1 0 0,0 0 0,9-5 0,-8 2 0,0-1 0,-1 0 0,1 0 0,-1 0 0,-1-1 0,1 0 0,-1 0 0,-1 0 0,6-13 0,16-28-113,-17 33 161,0 0 0,-2 0 1,1-1-1,7-30 0,-14 42-115,0 0-1,0 0 0,-1 0 0,0 0 0,0-1 0,0 1 0,0 0 0,-1 0 1,0 0-1,0 0 0,0 0 0,-1 0 0,0 0 0,0 0 0,0 1 0,0-1 0,-1 0 1,0 1-1,0 0 0,0 0 0,-4-4 0,-11-10-6758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4.35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320 24575,'333'-121'0,"-251"86"0,148-87 0,-217 114 0,-5 2 0,0 1 0,0 0 0,0 1 0,1 0 0,11-4 0,-19 8 0,1-1 0,0 1 0,-1 0 0,1-1 0,0 1 0,-1 0 0,1 0 0,0 0 0,0 0 0,-1 1 0,1-1 0,0 0 0,-1 1 0,1-1 0,0 1 0,-1 0 0,1-1 0,-1 1 0,1 0 0,-1 0 0,1 0 0,-1 0 0,0 0 0,1 0 0,-1 0 0,0 1 0,0-1 0,0 0 0,0 1 0,0-1 0,0 1 0,0-1 0,0 1 0,0 1 0,7 19 27,-1-1-1,-1 2 1,-1-1-1,4 42 1,-6-36-526,1-1-1,15 47 1,-8-45-6327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14.01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2 24575,'89'-1'0,"99"3"0,-120 10 0,-49-8 0,0 0 0,26 1 0,670-3 0,-348-5 0,487 3-1365,-832 0-5461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5.4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29'2'0,"1"2"0,-1 1 0,-1 1 0,38 13 0,11 2 0,-70-20 0,0 1 0,-1 0 0,0 0 0,1 1 0,-1-1 0,0 1 0,0 1 0,0-1 0,-1 1 0,1 0 0,-1 0 0,8 8 0,-10-8 0,-1 0 0,1 0 0,-1 0 0,1 0 0,-1 1 0,-1-1 0,1 1 0,0-1 0,-1 1 0,0 0 0,0-1 0,-1 1 0,1 0 0,-1 0 0,0 0 0,0-1 0,-1 1 0,-1 6 0,-2 7 0,-1-1 0,0 0 0,-2-1 0,0 0 0,-1 0 0,0 0 0,-13 17 0,-2 5 0,21-35 0,0-1 0,1 1 0,0-1 0,-1 1 0,1 0 0,0 0 0,0 0 0,1 0 0,-1 0 0,0 0 0,1 0 0,0 0 0,0 0 0,0 0 0,0 0 0,0 0 0,1 0 0,0 3 0,0-3 0,1-1 0,-1 0 0,1 1 0,-1-1 0,1 0 0,0 0 0,0 0 0,0 0 0,0-1 0,0 1 0,1-1 0,-1 1 0,0-1 0,1 0 0,-1 0 0,1 0 0,-1 0 0,1 0 0,0 0 0,4 0 0,40 6 0,0-3 0,0-1 0,0-2 0,62-8 0,-49 4 0,55-8-1365,-74 6-5461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6.45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48 24575,'3'-2'0,"0"0"0,0 0 0,0 0 0,0 1 0,0-1 0,0 1 0,0 0 0,1 0 0,-1 0 0,0 1 0,7-2 0,-4 1 0,75-12 0,1 4 0,162 2 0,-231 7 0,-3 0 0,-1 0 0,1 1 0,-1 0 0,0 0 0,1 1 0,-1 1 0,0-1 0,13 7 0,-20-8 0,0 0 0,0 0 0,0 1 0,0-1 0,0 0 0,-1 1 0,1-1 0,-1 1 0,1 0 0,-1 0 0,1-1 0,-1 1 0,0 0 0,0 0 0,0 0 0,1 4 0,-1-3 0,-1 0 0,0 0 0,0 0 0,0 0 0,0 0 0,0 0 0,0 0 0,-1-1 0,0 1 0,1 0 0,-1 0 0,0 0 0,-1 0 0,1-1 0,0 1 0,-2 2 0,-40 53 0,37-52 0,1 0 0,0 0 0,0 0 0,0 1 0,1-1 0,0 1 0,0 0 0,0 0 0,1 1 0,0-1 0,1 1 0,0-1 0,0 1 0,0 0 0,1 0 0,1 0 0,-1 9 0,7 23 0,-4-25 0,0-1 0,0 1 0,-2 27 0,0-39 0,0 0 0,-1 0 0,1 0 0,-1 0 0,0 0 0,0 0 0,0 0 0,0 0 0,0 0 0,0-1 0,-1 1 0,0 0 0,1-1 0,-1 0 0,0 1 0,0-1 0,0 0 0,-1 0 0,1 0 0,0 0 0,-1 0 0,1-1 0,-6 3 0,-15 3-50,0-1-1,-1-1 1,1-1-1,-1-2 1,0 0-1,0-1 1,-31-4-1,17 3-910,-33-2-5865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7.27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35 1 24575,'-4'0'0,"-1"1"0,0 0 0,1 1 0,-1-1 0,1 1 0,-1 0 0,1 0 0,0 0 0,0 1 0,0 0 0,0-1 0,0 1 0,0 1 0,1-1 0,0 0 0,-1 1 0,1 0 0,1 0 0,-5 6 0,-1 3 0,0 0 0,1 0 0,1 0 0,0 1 0,-4 16 0,8-23 0,0 1 0,1 0 0,-1-1 0,2 1 0,-1 0 0,1 0 0,0 0 0,1-1 0,0 1 0,0 0 0,0 0 0,1-1 0,1 1 0,-1-1 0,1 0 0,0 0 0,1 0 0,0 0 0,0 0 0,0-1 0,1 1 0,0-1 0,0 0 0,0-1 0,1 1 0,0-1 0,0 0 0,11 6 0,0 0 0,1-1 0,1-1 0,-1-1 0,1 0 0,1-1 0,-1-2 0,1 0 0,0-1 0,38 3 0,-36-5-93,18 1 206,75-5-1,-105 2-219,-1-1 0,1-1 0,-1 0 0,0 0 0,0 0 0,1-1 0,-1-1 1,-1 0-1,1 0 0,-1 0 0,1-1 0,-1-1 0,10-8 0,-3-2-6719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7.58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7 10 24575,'0'-4'0,"-3"-1"0,-10 4 0,-6 6 0,-8 18 0,-2 8 0,-1 11 0,-3 6 0,0 2 0,7 5 0,2 0 0,6-5 0,7-7 0,4-7 0,3-10-8191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8.38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72 0 24575,'-2'1'0,"1"-1"0,0 1 0,0-1 0,0 1 0,0 0 0,-1 0 0,1-1 0,0 1 0,0 0 0,0 0 0,1 0 0,-1 0 0,0 0 0,0 0 0,0 0 0,1 0 0,-1 1 0,0-1 0,1 0 0,-1 0 0,1 1 0,0-1 0,-1 0 0,1 2 0,-9 38 0,8-35 0,-5 24 0,2 1 0,2-1 0,0 1 0,2-1 0,8 60 0,-4-68 0,1-1 0,1 1 0,1-1 0,0 0 0,2 0 0,0-1 0,2 0 0,23 33 0,-23-39 0,-6-8 0,0 0 0,-1 1 0,0-1 0,0 1 0,6 12 0,-10-18 0,0 0 0,1 0 0,-1 1 0,0-1 0,0 0 0,0 1 0,0-1 0,0 0 0,0 1 0,0-1 0,0 0 0,0 1 0,-1-1 0,1 0 0,0 0 0,-1 1 0,1-1 0,-1 0 0,0 0 0,1 0 0,-1 0 0,0 1 0,0-1 0,0 0 0,0 0 0,0-1 0,0 1 0,0 0 0,0 0 0,0 0 0,0-1 0,0 1 0,0 0 0,0-1 0,-1 1 0,1-1 0,0 0 0,-3 1 0,-12 4 14,1 0-1,-1-1 0,-1-1 0,1-1 1,0 0-1,-1-1 0,0-1 1,-18-1-1,24-1-127,-1 1 0,1-1-1,0-1 1,-1 0 0,1-1 0,0 0-1,1 0 1,-1-1 0,1-1 0,0 0-1,0 0 1,-10-9 0,-9-13-6712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18.94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7 24575,'8'0'0,"6"0"0,8 0 0,9 0 0,6 0 0,9 0 0,15 0 0,14 0 0,8-4 0,7-2 0,-5-6 0,-17-2-8191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20.7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6 1 24575,'-3'146'0,"0"-34"0,13 116 0,-9-213 0,1-1 0,1 0 0,0 0 0,1-1 0,0 1 0,1-1 0,13 25 0,-15-33 0,0-1 0,0 1 0,1-1 0,0 1 0,0-1 0,0 0 0,0 0 0,0-1 0,1 1 0,0-1 0,0 0 0,0-1 0,0 1 0,0-1 0,1 0 0,-1 0 0,1 0 0,-1-1 0,1 0 0,-1 0 0,1 0 0,7-1 0,9 0 0,0-1 0,1-1 0,39-10 0,-51 10 0,-1-1 0,1 0 0,-1-1 0,0 0 0,0-1 0,0 0 0,-1-1 0,0 0 0,16-12 0,-20 11 0,-1 1 0,0-1 0,0 0 0,0 0 0,-1 0 0,0 0 0,0 0 0,-1-1 0,0 0 0,0 1 0,-1-1 0,1 0 0,-2 0 0,1 0 0,-2-13 0,1 11 0,-1 1 0,0-1 0,0 0 0,-1 0 0,0 1 0,-1 0 0,0-1 0,0 1 0,-1 0 0,0 0 0,-1 1 0,-7-11 0,3 10-91,0 1 0,-1 1 0,0-1 0,0 2 0,-1-1 0,0 1 0,0 1 0,0 0 0,-1 1 0,0 0 0,0 1 0,0 0 0,0 0 0,-22 0 0,7 0-6735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21.56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47'0'0,"0"3"0,-1 1 0,1 2 0,-1 3 0,0 1 0,81 31 0,-117-37 0,1 2 0,-2-1 0,1 1 0,-1 1 0,0 0 0,0 0 0,0 0 0,-1 1 0,-1 1 0,1-1 0,-1 1 0,-1 1 0,1-1 0,-2 1 0,1 0 0,-2 0 0,1 1 0,-1-1 0,-1 1 0,5 21 0,-1 13 0,-2 0 0,-2 1 0,-4 84 0,0-99 0,0-26-57,2 11-161,-2-1 0,0 1 0,-1-1 0,-1 1 0,-8 28 0,0-21-6608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21.86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8 24575,'4'-4'0,"5"-1"0,9 0 0,9 2 0,11 4 0,3 2 0,11 5 0,-5 0-8191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23.04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306 66 24575,'-33'-1'0,"18"0"0,1 1 0,-1 0 0,1 1 0,-1 0 0,-22 5 0,34-5 0,0 0 0,1 0 0,-1 0 0,0 1 0,1-1 0,-1 0 0,1 1 0,0 0 0,-1-1 0,1 1 0,0 0 0,0 0 0,0 0 0,0 1 0,1-1 0,-1 0 0,1 1 0,-1-1 0,1 1 0,0-1 0,0 1 0,0 0 0,0 0 0,0-1 0,1 1 0,-1 0 0,1 0 0,0 0 0,-1 0 0,1-1 0,1 1 0,-1 0 0,0 0 0,2 3 0,-1 3 0,1 1 0,0-1 0,1 1 0,0-1 0,1 0 0,0 0 0,0-1 0,1 1 0,0-1 0,1 0 0,-1 0 0,2-1 0,-1 1 0,15 12 0,6 1 0,1-1 0,58 32 0,6 3 0,-91-55 0,-1 0 0,1 1 0,0-1 0,-1 0 0,1 1 0,0-1 0,-1 1 0,1-1 0,-1 1 0,1-1 0,-1 1 0,1-1 0,-1 1 0,1-1 0,-1 1 0,1-1 0,-1 1 0,0 0 0,1-1 0,-1 1 0,0 0 0,0 0 0,1-1 0,-1 1 0,0 0 0,0-1 0,0 1 0,0 0 0,0 0 0,0-1 0,0 1 0,0 0 0,-1 0 0,0 1 0,0-1 0,0 0 0,-1 0 0,1 0 0,-1 0 0,1 0 0,-1 0 0,1 0 0,-1 0 0,0-1 0,1 1 0,-1 0 0,-2 0 0,-74 10 0,66-10 0,7 0 0,-38 4 0,-1-1 0,1-2 0,-83-7 0,121 4 0,1 0 0,-1 0 0,1 0 0,-1-1 0,1 1 0,0-1 0,0 0 0,0-1 0,0 1 0,-5-4 0,8 5 0,0 0 0,0 0 0,0 0 0,0 0 0,0-1 0,0 1 0,0 0 0,1 0 0,-1 0 0,1-1 0,-1 1 0,1 0 0,-1-1 0,1 1 0,0 0 0,-1-1 0,1 1 0,0-1 0,0 1 0,0 0 0,0-1 0,0 1 0,1-1 0,-1 1 0,0 0 0,1-1 0,-1 1 0,1 0 0,-1-1 0,1 1 0,-1 0 0,1 0 0,0-1 0,0 1 0,0 0 0,0 0 0,1-1 0,13-14 0,1 1 0,1 0 0,0 1 0,1 1 0,0 1 0,1 0 0,1 2 0,34-14 0,-23 10 0,-1-2 0,44-30 0,-70 43 7,0-1 0,0 0-1,0 0 1,-1-1 0,0 1-1,0-1 1,0 1-1,-1-1 1,1 0 0,-1 0-1,0 0 1,-1 0 0,1 0-1,-1-1 1,0 1 0,0 0-1,0-8 1,-1 4-156,0-1 1,0 1-1,-1 0 1,0 0-1,0 0 1,-1 0-1,0 0 1,-1 0-1,-5-11 1,-4-2-6678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16.277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2718'0'0,"-2700"1"0,1 1 0,34 8 0,-33-6 0,0 0 0,25 1 0,133-7 0,72 4 0,-230 1 0,-1 1 0,1 1 0,28 11 0,22 5 0,79 6 0,-89-12-1365,-43-11-5461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0:24.449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462 30 24575,'-5'-4'0,"-1"2"0,1-1 0,-1 1 0,1 0 0,-1 0 0,0 0 0,0 1 0,0 0 0,0 0 0,0 0 0,0 1 0,-11 0 0,0 0 0,-16-3 0,17 0 0,0 2 0,1 0 0,-1 0 0,0 2 0,1 0 0,-1 1 0,-23 5 0,37-6 0,0 0 0,0-1 0,0 1 0,1 0 0,-1 0 0,0 0 0,1 1 0,-1-1 0,1 0 0,-1 1 0,1-1 0,-1 0 0,1 1 0,0 0 0,0-1 0,0 1 0,0 0 0,0 0 0,0-1 0,0 1 0,1 0 0,-1 0 0,1 0 0,-1 0 0,1 0 0,0 0 0,0 0 0,0 0 0,0 0 0,0 0 0,0 0 0,0 0 0,1 0 0,-1 0 0,2 3 0,0 0 0,0 0 0,0 0 0,1 0 0,-1-1 0,1 1 0,0-1 0,0 1 0,1-1 0,-1 0 0,1-1 0,0 1 0,7 5 0,6 1 0,0-1 0,1-1 0,0 0 0,1-1 0,0-1 0,0-1 0,37 6 0,143 5 0,-182-16 0,37 3 0,-1-3 0,80-11 0,-129 14 0,-7 7 0,-19 24 0,-8 15 0,20-21 0,-9 43 0,15-51 0,-1 0 0,-1-1 0,-1 0 0,0 0 0,-14 23 0,16-35 0,1-1 0,-2-1 0,1 1 0,-1-1 0,0 0 0,0 0 0,0 0 0,0-1 0,-1 0 0,0-1 0,0 1 0,0-1 0,0 0 0,0-1 0,-1 0 0,-11 2 0,-13 1 0,0-1 0,-53-1 0,62-3 0,-1 0 0,-136-2 0,137 1 0,0-2 0,0-1 0,0 0 0,-38-14 0,55 16-136,0 0-1,0-1 1,0 0-1,1-1 1,-1 1-1,1-1 1,0 0-1,0 0 0,-5-5 1,-4-11-669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9:03:36.099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2 1,'-2'181,"5"202,20-168,-1 6,-22-213,1-11,-1-25,2-56,7-15,18-153,-19 207,2 0,2 1,26-65,-25 77,-6 12,2 1,16-29,-25 48,0 0,0-1,0 1,1 0,-1-1,0 1,0 0,0 0,0-1,0 1,0 0,1 0,-1-1,0 1,0 0,0 0,0 0,1-1,-1 1,0 0,0 0,1 0,-1-1,0 1,0 0,1 0,-1 0,0 0,1 0,-1 0,0 0,0 0,1 0,-1 0,0 0,1 0,-1 0,0 0,1 0,-1 0,0 0,0 0,1 0,-1 0,0 1,0-1,1 0,-1 0,0 0,0 0,1 1,-1-1,0 0,7 24,-3 33,-10 108,-37 226,-5 117,50-588,-1 36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9:11:03.93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8205 456,'1'0,"-1"0,0 0,0 0,0-1,0 1,0 0,1 0,-1 0,0-1,0 1,0 0,0 0,0-1,0 1,0 0,0 0,0 0,0-1,0 1,0 0,0 0,0-1,0 1,0 0,0 0,0-1,0 1,0 0,0 0,0-1,0 1,-1 0,1 0,0 0,0-1,0 1,0 0,0 0,-1 0,1 0,0-1,0 1,0 0,-1 0,1 0,0 0,0 0,-1 0,1 0,0 0,0-1,-1 1,1 0,0 0,0 0,0 0,-1 0,-20-3,19 2,-251-37,-187-18,-430 48,486 11,-1728-3,1891-10,-261-46,434 49,14 2,-541-90,473 77,-160-7,85 11,-86-28,56 6,82 19,-145 0,-223 19,474-1,-1 2,0 0,1 1,0 1,-37 15,28-9,-50 11,-122-2,147-17,0 1,1 3,-67 18,12 4,-129 17,130-25,-43 5,-825-4,414-21,510 3,0 2,1 2,-62 19,62-13,-1-3,-1-2,-64 3,-506-13,-36 1,169 54,293-25,-555 24,-790-51,730-5,660 10,-204 36,162-15,-78 10,80-8,-343 8,283-37,-173-5,419 4,0-1,0 1,0-1,0 0,0 0,0-1,-7-2,11 4,0 0,-1 0,1-1,0 1,-1 0,1 0,0 0,0 0,-1-1,1 1,0 0,0 0,0-1,-1 1,1 0,0 0,0-1,0 1,0 0,0-1,-1 1,1 0,0 0,0-1,0 1,0 0,0-1,0 1,0 0,0-1,0 1,0 0,0-1,0 1,1-1,18-10,34-3,1 3,0 1,81-2,-81 7,514-4,-329 12,-45-4,256 3,-5 32,81 29,-349-44,365-1,-235-17,58 33,-62-3,-236-24,73 16,30 5,181-11,69 7,206 17,5-40,-271-4,-222 4,71 0,231-27,-169-25,-48 7,-108 24,-18 2,2 5,105-1,79 17,264-4,-482-4,122-25,-48 11,-53 10,345-22,7 33,-149 1,1416-3,-1597 3,185 30,51 10,-177-25,369 65,-98-22,-193-30,-87-5,121 13,231-33,-281-10,2 6,234-5,-53-45,-146 10,148-23,-209 27,-194 33,101-22,-103 21,1-1,-1-1,0 0,0 0,0-1,-1 0,1 0,-1-1,9-8,-16 13,0 0,0 0,0 0,0 0,0-1,0 1,0 0,0-1,0 1,-1 0,1-1,-1 1,1-1,-1 1,1-1,-1 1,0-1,0 0,0 1,0-1,0 1,0-1,0 1,0-1,-1-1,-1 0,1-1,-1 1,0 1,0-1,0 0,0 0,0 1,0-1,-1 1,0-1,-2-1,-8-5,0 1,-1 0,-28-11,-15 0,-80-16,90 24,-53-9,-2 4,-109-3,-207 12,317 8,-1489 1,1600-2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8:58:04.13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91 0 24575,'0'1'0,"1"0"0,-1 0 0,0 0 0,1 0 0,-1 0 0,0 0 0,1 0 0,-1 0 0,0 0 0,0 0 0,0 0 0,0 0 0,0 0 0,0 0 0,0 0 0,0 0 0,-1 0 0,1 0 0,0 0 0,0 0 0,-1 0 0,1 0 0,-1 0 0,1 0 0,-1 0 0,1 0 0,-1 0 0,0 0 0,0-1 0,1 1 0,-1 0 0,0-1 0,0 1 0,0 0 0,-1 0 0,-37 29 0,35-28 0,-35 25 0,-2-2 0,-1-2 0,-89 34 0,-125 54 0,51-20 0,21-7 0,-133 61 0,158-60 0,-218 83 0,359-161 0,-1 0 0,2 1 0,-1 1 0,-24 17 0,36-21 0,-1 0 0,1 1 0,0 0 0,1 0 0,0 0 0,0 1 0,0 0 0,1 0 0,0 0 0,0 0 0,0 1 0,1 0 0,-3 11 0,3-9-84,-23 67 299,23-72-340,0 0 1,0 1-1,0-1 0,0 0 1,-1-1-1,0 1 0,0-1 1,0 1-1,0-1 0,-1 0 1,-6 4-1,-12 4-6701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8:58:05.82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3'0'0,"1"1"0,-1 1 0,0-1 0,1 0 0,-1 1 0,0-1 0,0 1 0,0 0 0,0 0 0,0 1 0,-1-1 0,1 0 0,0 1 0,-1 0 0,4 5 0,31 45 0,-30-40 0,-1 0 0,0 0 0,-1 1 0,0 0 0,-1 0 0,-1 0 0,2 18 0,2 104 0,-5-59 0,-2-73 0,1 0 0,-1-1 0,1 1 0,-1 0 0,1-1 0,0 1 0,1-1 0,-1 1 0,1-1 0,-1 0 0,1 0 0,0 1 0,0-1 0,1 0 0,-1-1 0,0 1 0,5 4 0,-2-3 0,1-1 0,-1 0 0,1 0 0,-1 0 0,1-1 0,0 1 0,0-1 0,0-1 0,10 3 0,7-2 0,1 0 0,-1-2 0,1 0 0,34-6 0,-4-1 0,0-3 0,80-24 0,-132 33 0,0 1 0,0-1 0,0 0 0,0 0 0,0 0 0,-1 0 0,1 0 0,0 0 0,0 0 0,-1 0 0,1-1 0,0 1 0,-1-1 0,1 1 0,-1-1 0,0 1 0,0-1 0,0 0 0,1 0 0,-2 0 0,1 0 0,0 0 0,0 0 0,0-2 0,-1 1 0,0-1 0,0 1 0,0-1 0,-1 1 0,1-1 0,-1 1 0,0 0 0,0-1 0,0 1 0,0 0 0,-1 0 0,1 0 0,-4-5 0,-1-1 0,0 1 0,-1-1 0,0 1 0,0 0 0,-1 1 0,0 0 0,0 0 0,-18-11 0,-7 4 0,0 1 0,0 2 0,-45-9 0,37 10 0,-72-27 0,104 33-170,1 1-1,-1-1 0,1-1 1,0 1-1,0-1 0,1-1 1,-11-9-1,2-4-6655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5:02.87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8 1 24575,'0'7'0,"0"11"0,0 14 0,0 12 0,0 3 0,0 6 0,0-3 0,0-7 0,0-2 0,0-4 0,-7-1 0,-3-7-8191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5:03.7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81 24575,'0'0'0,"0"-1"0,0 1 0,1 0 0,-1 0 0,0-1 0,0 1 0,0 0 0,1-1 0,-1 1 0,0 0 0,0 0 0,1-1 0,-1 1 0,0 0 0,1 0 0,-1 0 0,0-1 0,1 1 0,-1 0 0,0 0 0,1 0 0,-1 0 0,0 0 0,1 0 0,-1 0 0,0 0 0,1 0 0,-1 0 0,1 0 0,-1 0 0,0 0 0,1 0 0,-1 0 0,0 0 0,1 0 0,-1 0 0,0 0 0,1 1 0,-1-1 0,0 0 0,1 0 0,-1 1 0,19 8 0,-5 2 0,-1 1 0,-1 1 0,0 0 0,-1 0 0,17 26 0,41 82 0,-67-118 0,3 9 0,2-1 0,-1 0 0,1 0 0,1 0 0,-1-1 0,11 9 0,-17-17 0,1-1 0,0 0 0,0 1 0,0-1 0,0 0 0,0 0 0,0 0 0,0 0 0,0 0 0,0-1 0,0 1 0,0 0 0,1-1 0,-1 0 0,0 0 0,0 1 0,3-2 0,-2 1 0,0-1 0,0 0 0,0 0 0,0-1 0,0 1 0,0 0 0,0-1 0,-1 0 0,1 0 0,-1 0 0,1 0 0,-1 0 0,0 0 0,0 0 0,0-1 0,2-2 0,7-12 0,-1 0 0,-1 0 0,-1-1 0,-1 0 0,0-1 0,7-28 0,10-29 0,-15 54 0,-5 13 0,0 0 0,0-1 0,-1 1 0,4-21 0,-7 29 0,1-1 0,-1 0 0,0 0 0,0 0 0,0 0 0,-1 0 0,1 0 0,0 0 0,-1 0 0,1 0 0,-1 1 0,0-1 0,1 0 0,-1 0 0,0 1 0,0-1 0,0 0 0,0 1 0,-1-1 0,1 1 0,0-1 0,-1 1 0,1 0 0,0 0 0,-1 0 0,0-1 0,1 1 0,-1 1 0,0-1 0,1 0 0,-4-1 0,-7-1-195,-1 0 0,-1 1 0,1 0 0,0 1 0,0 0 0,-26 3 0,3 0-6631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5:04.39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4575,'4'4'0,"16"5"0,17 1 0,17 3 0,12-1 0,1-3 0,-6-2 0,-10-3 0,-13-2-8191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09:05:05.2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359 24575,'18'0'0,"0"0"0,0-2 0,1 0 0,-2-1 0,1-1 0,0-1 0,-1 0 0,0-2 0,0 0 0,0 0 0,-1-2 0,19-13 0,8-9 0,-2-2 0,-2-2 0,54-61 0,-65 66 0,-20 21 0,1 1 0,-1 0 0,1 0 0,19-12 0,-27 20 0,0-1 0,1 0 0,-1 0 0,0 0 0,1 1 0,-1-1 0,1 1 0,-1-1 0,1 1 0,-1-1 0,1 1 0,-1 0 0,1 0 0,-1 0 0,1 0 0,-1 0 0,1 0 0,-1 0 0,1 1 0,0-1 0,-1 0 0,1 1 0,-1-1 0,0 1 0,1 0 0,-1-1 0,1 1 0,-1 0 0,0 0 0,0 0 0,1 0 0,-1 0 0,0 0 0,0 0 0,0 0 0,0 1 0,0-1 0,-1 0 0,1 1 0,0-1 0,0 0 0,-1 1 0,1-1 0,-1 1 0,1 1 0,3 11 0,0-1 0,-1 1 0,-1 0 0,0 1 0,0 26 0,-8 80 0,1-48 0,3 30-1365,2-76-5461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9:12:05.49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 662,'-2'-68,"0"32,2 0,5-41,-4 74,-1 0,1 1,0-1,0 1,0-1,0 1,1-1,-1 1,1 0,-1-1,1 1,0 0,0 0,0 0,0 1,0-1,0 0,1 1,-1-1,1 1,-1 0,1 0,-1 0,1 0,-1 0,4 0,9-2,-1 1,1 0,25 1,-27 1,684 20,-7 44,-599-55,144 13,163 18,4 35,-34 12,749 79,-627-114,233 10,-45-65,482 13,-624 45,-142-10,138-37,-299-12,1205 4,-1392-1,1-3,-1-2,0-2,0-2,-1-1,0-3,-1-2,-1-1,53-31,-90 46,-1-1,0-1,0 1,0-1,-1 1,1-1,-1 0,0-1,0 1,0-1,-1 0,5-9,-6 10,-1 0,0 0,0 0,0 0,-1 0,1 0,-1 0,0-1,0 1,-1 0,1 0,-1 0,0 0,0 0,0 0,0 0,-1 0,-3-7,-8-9,0 0,-1 0,-1 1,-29-28,4 3,33 37,-1-1,0 1,0 1,-1-1,0 1,0 1,0 0,0 0,-1 1,-13-4,-11-2,-61-8,60 12,-636-73,289 41,179 13,-28-5,-273 0,30 2,386 20,-249-24,-403-91,518 82,-282-17,358 45,-482-25,501 39,1 4,-248 46,-102 57,79-43,152-30,176-23,-214 41,214-37,1 4,-69 30,72-24,2 3,1 3,2 2,1 3,-88 73,144-108,-27 27,-1-2,-2-1,-1-2,-59 32,36-26,-2-3,-2-2,0-3,-90 19,60-21,2 3,-99 40,-168 87,98-39,217-94,-25 9,1 3,-61 37,121-62,1-1,0 1,0 0,0 0,0 1,1-1,-1 1,1 0,0-1,1 1,-1 1,1-1,0 0,0 1,1-1,0 1,0-1,0 1,0 0,1-1,0 1,0 0,1-1,-1 1,1 0,0-1,4 10,-3-7,0 0,1 0,0-1,0 1,1-1,0 1,0-1,0-1,1 1,0-1,1 1,-1-1,1-1,1 1,-1-1,1 0,-1-1,15 8,12-4,0 0,1-3,0 0,0-2,35-2,-8 1,1062 9,-672-14,982 3,-1316 5,216 35,149 11,-369-42,0 0,169-8,-246-3,0-2,0-2,-1-1,0-2,0-1,-1-1,0-3,55-29,-72 33,-1-1,-1 0,0-2,-1 1,0-2,-1 0,18-24,-23 27,-2 1,0-1,0 0,-1 0,0-1,-1 1,0-1,-1 0,0 0,-1-1,-1 1,1-19,-2 9,0 9,0 1,-1 0,-4-22,5 30,-2 1,1-1,0 1,0 0,-1-1,0 1,0 0,0 0,0 0,0 0,-1 0,1 1,-1-1,1 1,-1 0,0-1,-5-1,-17-8,0 2,-1 1,-1 2,1 0,-1 2,-47-4,7-1,-1012-82,-15 90,509 7,-5-23,382 0,132 12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22.5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58 24575,'2013'0'0,"-1993"-1"0,-1-1 0,33-7 0,33-4 0,-58 12 0,1-1 0,53-10 0,-53 7 0,1 1 0,0 1 0,36 2 0,-36 2 0,0-2 0,0-2 0,35-6 0,-21 2 0,1 2 0,0 2 0,0 2 0,47 4 0,10 0 0,1634-3 0,-1716-1 0,-1-1 0,35-8 0,-33 5 0,0 2 0,26-2 0,-23 4 0,1 0 0,-1-1 0,0-1 0,0-2 0,0 0 0,30-12 0,-28 11 0,-1 0 0,1 2 0,0 0 0,1 2 0,-1 1 0,0 1 0,34 4 0,18-1 0,-16-4 0,-23 0 0,0 1 0,0 2 0,74 14 0,38 10 0,-45-6-1365,-89-15-5461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9:12:12.7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871 301,'-19'-1,"0"-1,0 0,0-2,1 0,-24-9,-11-2,-1120-204,621 178,-3 44,182 1,345-4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09:13:02.100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463 3,'28'2,"1"1,0 1,-1 2,43 14,-32-8,60 9,216 30,-195-37,1-6,162-10,-91-1,1059 3,-1015-16,-177 10,96-16,40-3,1193 0,-944 28,-49-5,440 4,-491 21,71 1,4547-25,-4894-3,112-19,-53 4,250-1,-231 15,19-5,55-1,-111 9,161 5,-266-3,-1 1,0-1,0 1,1 0,-1 0,0 0,0 0,0 0,0 1,0-1,0 1,0 0,-1 0,1 0,-1 0,1 0,-1 0,0 1,0-1,0 1,0 0,0 0,0 0,-1-1,0 2,2 4,2 8,-2-1,0 1,-1-1,0 26,1-3,6 427,-12-271,7-91,25 138,-4-49,-15 230,-11-275,-24 158,9-156,12-106,1 0,-2 0,-11 44,12-74,0 0,0 0,-2 0,1 0,-2-1,0 0,0 0,-1-1,0 0,-15 15,-37 35,-7 6,-87 70,143-130,-1 0,-1-1,1 0,-1-1,0-1,0 0,0 0,0-2,-21 3,13-2,1 1,0 1,-25 9,-38 23,52-21,-1-2,0-1,-1-2,-53 11,-27-10,0-5,-149-11,94 0,-793 4,-109-2,454-32,51 2,442 28,-295 7,166 37,6 0,-123 6,180-20,-265 5,189-20,-285 48,294-34,-261-7,-132 29,524-33,-334-5,273-12,-1135 3,1286-1,-1-2,1-1,0-1,0-3,0 0,-42-18,-189-99,146 67,-217-73,-137-6,312 98,-205-63,302 81,-1 2,-1 3,-104-10,-208 4,294 23,50 1,0-2,-54-7,84 6,0 0,0 0,0 0,1-1,-1 1,1-1,-1 0,1-1,-1 1,1-1,0 0,0 0,0 0,-4-5,7 6,-1 0,1-1,0 1,-1-1,1 1,1-1,-1 0,0 1,1-1,-1 0,1 0,0 1,0-1,0 0,0 0,0 1,1-1,-1 0,1 1,-1-1,1 0,0 1,0-1,1 1,-1-1,3-3,16-33,-3-2,-1 0,-2 0,-1-1,-3-1,-1 0,3-47,6-24,-7 52,6-100,-37-284,12-44,11 281,-5 66,5-160,-3 300,0-1,1 1,-1 0,1 0,0-1,0 1,0 0,1 0,-1 0,1 0,-1 0,1 1,0-1,0 0,0 1,1-1,-1 1,0 0,1 0,0 0,-1 0,1 0,0 0,0 1,0 0,0-1,0 1,1 0,-1 1,4-2,11 0,0 0,1 1,-1 1,28 4,-9-2,9 0,31 1,119-10,-189 6,0 1,-1-2,1 1,-1-1,1 0,-1-1,9-3,5-8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11:03.86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49,'1'-3,"-1"0,1 0,-1 0,1 0,0 0,0 0,1 0,-1 1,0-1,1 0,0 1,0-1,0 1,0-1,0 1,0 0,0 0,1 0,-1 0,1 0,-1 1,1-1,0 1,0 0,0 0,0 0,0 0,3-1,15-3,0 0,0 1,25 0,-17 1,246-43,40-5,40 14,-263 20,95-29,26-6,-157 45,-1 2,2 3,69 6,-12-1,1157-3,-1208 4,106 18,-6 0,-124-17,48 12,-56-10,0 0,1-3,36 2,52-6,226 29,-272-13,78 27,-78-20,-38-15,-1-1,2-2,50 1,41 5,-38-3,180-5,-126-6,1981 3,-1849-23,-8-1,1466 23,-780 4,-918-3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25:18.304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60,'220'-2,"234"5,-388 3,103 24,-24-3,-93-17,51 17,46 9,39 6,-138-28,0-2,1-2,98 5,680-17,-797 2,0 0,0-2,-1-1,1-2,-1-1,0-1,-1-2,45-19,18-18,146-67,-47 52,-162 50,0 1,1 2,0 0,42-3,126 0,-109 8,-62 0,0-1,42-12,-43 9,0 2,54-6,311 14,-278 8,170 41,-218-38,-11-2,0-2,1-3,77 1,-46-5,0 5,0 3,93 25,63 8,-185-38,70-3,-84-4,0 2,0 2,64 13,-41-4,1-3,1-3,-1-3,77-7,86 5,-88 19,-7 0,287-13,53 5,134-1,-375-14,303 3,-494 3,0 1,54 12,-46-6,52 3,242 1,-231-3,254 10,430-21,-742-4,0-1,0-4,0-2,-1-2,-1-2,0-3,76-37,-107 45,0 1,1 1,0 1,0 1,1 2,-1 0,47 1,-34 4,1 2,-1 2,0 1,57 18,11 1,-69-17,0 1,56 22,-70-23,0-2,0-1,1 0,0-2,0-1,39-1,23 3,11 5,181-7,-274-2,1 0,-1-1,1 0,-1 0,1 0,-1 0,0-1,0 1,1-1,-1 0,0-1,-1 1,1 0,0-1,-1 0,1 0,-1 0,0-1,0 1,0-1,-1 1,4-7,6-11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13:46.27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,'3'-3,"2"-2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08:34.04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86,'12'1,"-1"0,0 1,1 0,-1 1,14 6,24 5,601 72,8-67,-144-36,-481 15,890-6,-515 11,-257-8,285-48,-427 51,91-14,167-51,-235 59,0 2,1 1,0 2,0 1,0 2,37 4,5-2,339-13,-23 1,-187 8,231 6,-342 5,-1 5,164 47,-82-17,-54-17,259 64,-188-23,-21-6,327 42,-272-64,14 4,2-10,343 5,-428-38,419-6,-526 2,0-2,0-3,-1-1,0-3,-1-2,46-20,-61 24,0 2,0 1,0 2,1 1,40 0,-35 2,0-1,-1-2,58-14,93-54,4-2,-167 67,-7 4,0-1,0-1,-1-1,0-1,0 0,25-17,-41 24,0 1,-1-1,1 0,0 1,0-1,0 0,-1 0,1 1,0-1,-1 0,1 0,0 0,-1 0,1 0,-1 0,0 0,1 0,-1 0,0 0,1 0,-1 0,0 0,0 0,0-1,0 0,-1 0,0 1,0-1,0 1,0-1,0 1,0 0,-1 0,1 0,0 0,-1 0,1 0,-1 0,1 0,-1 0,1 0,-4 0,-29-11,-1 2,0 1,0 2,-38-3,0 0,-221-28,-583 4,785 35,-598 0,6-39,560 20,0-6,-143-45,199 51,0 4,-2 3,-92-4,-213 15,200 3,-802-2,947 1,0 1,0 1,-35 10,34-7,-1-1,-61 4,-33-10,52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11:06.53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36,'11'-8,"28"-6,25-5,22-3,20-1,14-1,6 4,2 1,-3 4,-3 0,1 4,-12 2,-18-3,-21-1,-22 2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37:42.10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3931 516,'-14'-5,"0"1,-1 0,1 1,-1 0,1 2,-1-1,0 2,-19 1,-6-1,-68-3,-264-15,-493-110,523 71,-1359-189,1391 210,267 29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38:02.84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20'2,"1"0,-1 2,0 0,0 1,21 9,24 5,80 12,0-7,217 8,300-29,-327-6,2922 3,-3225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08:34.04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86,'12'1,"-1"0,0 1,1 0,-1 1,14 6,24 5,601 72,8-67,-144-36,-481 15,890-6,-515 11,-257-8,285-48,-427 51,91-14,167-51,-235 59,0 2,1 1,0 2,0 1,0 2,37 4,5-2,339-13,-23 1,-187 8,231 6,-342 5,-1 5,164 47,-82-17,-54-17,259 64,-188-23,-21-6,327 42,-272-64,14 4,2-10,343 5,-428-38,419-6,-526 2,0-2,0-3,-1-1,0-3,-1-2,46-20,-61 24,0 2,0 1,0 2,1 1,40 0,-35 2,0-1,-1-2,58-14,93-54,4-2,-167 67,-7 4,0-1,0-1,-1-1,0-1,0 0,25-17,-41 24,0 1,-1-1,1 0,0 1,0-1,0 0,-1 0,1 1,0-1,-1 0,1 0,0 0,-1 0,1 0,-1 0,0 0,1 0,-1 0,0 0,1 0,-1 0,0 0,0 0,0-1,0 0,-1 0,0 1,0-1,0 1,0-1,0 1,0 0,-1 0,1 0,0 0,-1 0,1 0,-1 0,1 0,-1 0,1 0,-4 0,-29-11,-1 2,0 1,0 2,-38-3,0 0,-221-28,-583 4,785 35,-598 0,6-39,560 20,0-6,-143-45,199 51,0 4,-2 3,-92-4,-213 15,200 3,-802-2,947 1,0 1,0 1,-35 10,34-7,-1-1,-61 4,-33-10,52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3T08:46:24.64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03 24575,'3472'0'0,"-3453"-2"0,1 0 0,31-7 0,35-4 0,110 16 0,85-6 0,-213-9 0,-50 7 0,1 2 0,27-2 0,-16 4 0,-1-1 0,48-10 0,22 0 0,-70 10 0,44-10 0,-43 8-123,-1 0-1,0 2 1,48 2-1,-51 0-747,-4 0-5955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11:06.53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36,'11'-8,"28"-6,25-5,22-3,20-1,14-1,6 4,2 1,-3 4,-3 0,1 4,-12 2,-18-3,-21-1,-22 2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37:42.10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3931 516,'-14'-5,"0"1,-1 0,1 1,-1 0,1 2,-1-1,0 2,-19 1,-6-1,-68-3,-264-15,-493-110,523 71,-1359-189,1391 210,267 29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9-26T10:38:02.84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20'2,"1"0,-1 2,0 0,0 1,21 9,24 5,80 12,0-7,217 8,300-29,-327-6,2922 3,-3225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4.800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7'0'0,"7"0"0,5 0 0,7 0 0,3 0 0,0 4 0,3 5 0,4 5 0,-1 3 0,-6 0-8191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5.05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4575,'7'8'0,"8"3"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5.24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1 24575,'4'0'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5.49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1 24575,'7'0'0,"12"0"0,5 4 0,10 12 0,0 5-8191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5.711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4575,'0'0'-8191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5.89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 0 24575,'11'0'0,"8"0"0,17 4 0,1 1-8191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9-26T10:40:26.178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0 0 24575,'4'0'0,"5"4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183" cy="50259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0799" y="0"/>
            <a:ext cx="2984183" cy="50259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r">
              <a:defRPr sz="1300"/>
            </a:lvl1pPr>
          </a:lstStyle>
          <a:p>
            <a:fld id="{9AB99A3D-87D6-4B12-B717-FF194AD5DB59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7100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88" tIns="48294" rIns="96588" bIns="4829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658" y="4820741"/>
            <a:ext cx="5509260" cy="3944243"/>
          </a:xfrm>
          <a:prstGeom prst="rect">
            <a:avLst/>
          </a:prstGeom>
        </p:spPr>
        <p:txBody>
          <a:bodyPr vert="horz" lIns="96588" tIns="48294" rIns="96588" bIns="48294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4531"/>
            <a:ext cx="2984183" cy="502595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0799" y="9514531"/>
            <a:ext cx="2984183" cy="502595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r">
              <a:defRPr sz="1300"/>
            </a:lvl1pPr>
          </a:lstStyle>
          <a:p>
            <a:fld id="{0194D917-C03F-4EAB-872E-54D4523C29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277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EA936F-6ED7-835F-814F-EB9E15FE63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E99670E-6683-95B7-6D8F-3BB3A0ABCE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5C56DF-49F3-0E33-20F0-C7E611726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D419EB-D2ED-3BEE-3893-261A67D30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99E779-2D52-CE88-2C55-06BAF028C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8620D4-4B3E-FF5B-7788-5D6FCFCDB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AF015B-D15F-4A13-4918-2EC8103FC5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7E02DE-21B3-7F20-9AC5-A3AF05D54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E2B33F-C795-234E-A226-32976683D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85DBFC-F374-DE90-73F6-09CB34441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740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E9914F3-C7BC-9024-8E45-1931C35C76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ED629D3-CA0E-64FB-4B16-6B55F694D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18B9C6-54C1-419B-4C68-9DD000E7B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1407D1-C83E-274D-3FE4-322034655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5AB730-31AA-66EF-BCDF-59C080AE7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7034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/>
          <p:cNvSpPr/>
          <p:nvPr userDrawn="1"/>
        </p:nvSpPr>
        <p:spPr>
          <a:xfrm>
            <a:off x="0" y="6669089"/>
            <a:ext cx="12192000" cy="1809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graphicFrame>
        <p:nvGraphicFramePr>
          <p:cNvPr id="4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11" name="Objek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CB40CA-ADB5-4D8F-A4BB-DA8A2EFC9B9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3" name="Rechteck 32"/>
          <p:cNvSpPr/>
          <p:nvPr userDrawn="1"/>
        </p:nvSpPr>
        <p:spPr>
          <a:xfrm>
            <a:off x="1" y="0"/>
            <a:ext cx="12192001" cy="698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7884" y="197418"/>
            <a:ext cx="2754950" cy="27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96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C48C45-7C87-2023-2E06-8319AF412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83BEF60-4004-BFDB-2161-F9B7EDE988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AA87D7-3E8C-B523-5D70-9028ABC1C0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B9B28D-1F0A-9510-468E-9492E733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A69C91-4C98-C33A-39AC-112948D34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524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B971A7-1233-335D-F1C0-447CC2898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3DDEF1-CECE-4266-326D-49AE1A48D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DD7623-62F9-09FF-B1C3-86D594B6C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51AB16-BADD-5516-ABB6-97DF7BAEA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891B290-354C-F1ED-FAD2-F890D56E0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832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32B7E-3249-8E61-8D8A-24EF10BA6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11D95-2611-29DE-4F18-974EFB7D0D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98516A-5503-FD08-BC68-F52865E3FB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2A9C8D-77BD-2553-8E32-69685AD46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B60E0F-8607-7C95-B23B-9E3BA85EA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387E41C-98FB-E091-8684-ED52743A5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59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40E8B-8E06-3DD7-2779-6DA77E2B8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340BF3-D06B-6465-C510-2AC9A6CCFA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BAAA45D-E582-51B3-85B5-14D6A36B64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2D2BF4-25F9-88EB-DA5A-22A2BCACCE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6B0892-34A6-0EE4-756D-20F14ECEBA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D717E01-BAA7-7EB9-1DBA-470702227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54442AE-933D-FF97-B47A-CD18C71CD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222B7C-D127-4535-D538-A1197555A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8825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F106AE-6092-2A92-F3C3-8D9763A36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2D6D01-29DC-3789-0C5D-CCC7F2C23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A50DD0-D01C-EC08-6988-F6F79729F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3337D5-E1C3-CE2E-C18E-0065402C1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8392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45D297-D213-0ABB-6C87-B018FFDCF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E56691B-F6E2-FB1C-FF6E-DA77EB750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381927-15A2-9CBE-A7B9-818D88C81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470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1DC73B-1CA4-AB74-E8B1-33442F8E6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E059F94-6FC8-A6F5-C541-A291DC0F4A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51AD7ED-B9D1-95C8-D05A-EDF82CC815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6D6F6EE-BE25-DF77-88A0-5AE8F1757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173525A-729B-E039-0907-210879AC1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BAB6280-0687-456F-955C-16A63D82F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4173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0A44D-12F9-51EE-07EB-E2DB2C646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79E8C32-6E47-84CE-1108-C63CF0701B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60B2014-05E1-582B-AA39-12909BD2A3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953D368-2CE3-7F6C-6174-7F47F9CAA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B185B1B-24FA-FCE7-43A8-2A49925DE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DF95404-D35E-BB70-3658-7CF8FCC16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02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90BCB5-CF12-2AB8-FAD1-B26BAC6EF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900830-133B-1C4B-00D0-03E0280E6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DD5093-E541-8042-1C39-0F3B40F841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E93165-6CFE-4385-98C5-DAE0FD49D1D3}" type="datetimeFigureOut">
              <a:rPr lang="de-DE" smtClean="0"/>
              <a:t>26.09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22416F-0D95-2CCC-23B9-38208E206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D449AD-EF43-39C5-6882-845A67206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0456C-3CD4-4229-AB36-649DAC4331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001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ustomXml" Target="../ink/ink34.xml"/><Relationship Id="rId13" Type="http://schemas.openxmlformats.org/officeDocument/2006/relationships/image" Target="../media/image75.png"/><Relationship Id="rId18" Type="http://schemas.openxmlformats.org/officeDocument/2006/relationships/customXml" Target="../ink/ink39.xml"/><Relationship Id="rId26" Type="http://schemas.openxmlformats.org/officeDocument/2006/relationships/customXml" Target="../ink/ink43.xml"/><Relationship Id="rId3" Type="http://schemas.openxmlformats.org/officeDocument/2006/relationships/image" Target="../media/image70.png"/><Relationship Id="rId21" Type="http://schemas.openxmlformats.org/officeDocument/2006/relationships/image" Target="../media/image79.png"/><Relationship Id="rId7" Type="http://schemas.openxmlformats.org/officeDocument/2006/relationships/image" Target="../media/image72.png"/><Relationship Id="rId12" Type="http://schemas.openxmlformats.org/officeDocument/2006/relationships/customXml" Target="../ink/ink36.xml"/><Relationship Id="rId17" Type="http://schemas.openxmlformats.org/officeDocument/2006/relationships/image" Target="../media/image77.png"/><Relationship Id="rId25" Type="http://schemas.openxmlformats.org/officeDocument/2006/relationships/image" Target="../media/image81.png"/><Relationship Id="rId2" Type="http://schemas.openxmlformats.org/officeDocument/2006/relationships/customXml" Target="../ink/ink31.xml"/><Relationship Id="rId16" Type="http://schemas.openxmlformats.org/officeDocument/2006/relationships/customXml" Target="../ink/ink38.xml"/><Relationship Id="rId20" Type="http://schemas.openxmlformats.org/officeDocument/2006/relationships/customXml" Target="../ink/ink40.xml"/><Relationship Id="rId29" Type="http://schemas.openxmlformats.org/officeDocument/2006/relationships/image" Target="../media/image83.png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33.xml"/><Relationship Id="rId11" Type="http://schemas.openxmlformats.org/officeDocument/2006/relationships/image" Target="../media/image74.png"/><Relationship Id="rId24" Type="http://schemas.openxmlformats.org/officeDocument/2006/relationships/customXml" Target="../ink/ink42.xml"/><Relationship Id="rId5" Type="http://schemas.openxmlformats.org/officeDocument/2006/relationships/image" Target="../media/image71.png"/><Relationship Id="rId15" Type="http://schemas.openxmlformats.org/officeDocument/2006/relationships/image" Target="../media/image76.png"/><Relationship Id="rId23" Type="http://schemas.openxmlformats.org/officeDocument/2006/relationships/image" Target="../media/image80.png"/><Relationship Id="rId28" Type="http://schemas.openxmlformats.org/officeDocument/2006/relationships/customXml" Target="../ink/ink44.xml"/><Relationship Id="rId10" Type="http://schemas.openxmlformats.org/officeDocument/2006/relationships/customXml" Target="../ink/ink35.xml"/><Relationship Id="rId19" Type="http://schemas.openxmlformats.org/officeDocument/2006/relationships/image" Target="../media/image78.png"/><Relationship Id="rId4" Type="http://schemas.openxmlformats.org/officeDocument/2006/relationships/customXml" Target="../ink/ink32.xml"/><Relationship Id="rId9" Type="http://schemas.openxmlformats.org/officeDocument/2006/relationships/image" Target="../media/image73.png"/><Relationship Id="rId14" Type="http://schemas.openxmlformats.org/officeDocument/2006/relationships/customXml" Target="../ink/ink37.xml"/><Relationship Id="rId22" Type="http://schemas.openxmlformats.org/officeDocument/2006/relationships/customXml" Target="../ink/ink41.xml"/><Relationship Id="rId27" Type="http://schemas.openxmlformats.org/officeDocument/2006/relationships/image" Target="../media/image8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hyperlink" Target="https://de.wikipedia.org/wiki/Sequenzdiagramm" TargetMode="External"/><Relationship Id="rId18" Type="http://schemas.openxmlformats.org/officeDocument/2006/relationships/customXml" Target="../ink/ink3.xml"/><Relationship Id="rId26" Type="http://schemas.openxmlformats.org/officeDocument/2006/relationships/customXml" Target="../ink/ink7.xml"/><Relationship Id="rId3" Type="http://schemas.openxmlformats.org/officeDocument/2006/relationships/hyperlink" Target="https://de.wikipedia.org/wiki/Komponentendiagramm" TargetMode="External"/><Relationship Id="rId21" Type="http://schemas.openxmlformats.org/officeDocument/2006/relationships/image" Target="../media/image16.png"/><Relationship Id="rId7" Type="http://schemas.openxmlformats.org/officeDocument/2006/relationships/hyperlink" Target="https://de.wikipedia.org/wiki/Profildiagramm" TargetMode="External"/><Relationship Id="rId12" Type="http://schemas.openxmlformats.org/officeDocument/2006/relationships/hyperlink" Target="https://de.wikipedia.org/wiki/Kommunikationsdiagramm_(UML)" TargetMode="External"/><Relationship Id="rId17" Type="http://schemas.openxmlformats.org/officeDocument/2006/relationships/image" Target="../media/image14.png"/><Relationship Id="rId25" Type="http://schemas.openxmlformats.org/officeDocument/2006/relationships/image" Target="../media/image18.png"/><Relationship Id="rId33" Type="http://schemas.openxmlformats.org/officeDocument/2006/relationships/image" Target="../media/image22.png"/><Relationship Id="rId2" Type="http://schemas.openxmlformats.org/officeDocument/2006/relationships/hyperlink" Target="https://de.wikipedia.org/wiki/Klassendiagramm" TargetMode="External"/><Relationship Id="rId16" Type="http://schemas.openxmlformats.org/officeDocument/2006/relationships/customXml" Target="../ink/ink2.xml"/><Relationship Id="rId20" Type="http://schemas.openxmlformats.org/officeDocument/2006/relationships/customXml" Target="../ink/ink4.xml"/><Relationship Id="rId29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de.wikipedia.org/wiki/Paketdiagramm" TargetMode="External"/><Relationship Id="rId11" Type="http://schemas.openxmlformats.org/officeDocument/2006/relationships/hyperlink" Target="https://de.wikipedia.org/wiki/Interaktions%C3%BCbersichtsdiagramm" TargetMode="External"/><Relationship Id="rId24" Type="http://schemas.openxmlformats.org/officeDocument/2006/relationships/customXml" Target="../ink/ink6.xml"/><Relationship Id="rId32" Type="http://schemas.openxmlformats.org/officeDocument/2006/relationships/customXml" Target="../ink/ink10.xml"/><Relationship Id="rId5" Type="http://schemas.openxmlformats.org/officeDocument/2006/relationships/hyperlink" Target="https://de.wikipedia.org/wiki/Objektdiagramm" TargetMode="External"/><Relationship Id="rId15" Type="http://schemas.openxmlformats.org/officeDocument/2006/relationships/hyperlink" Target="https://de.wikipedia.org/wiki/Zustandsdiagramm_(UML)" TargetMode="External"/><Relationship Id="rId23" Type="http://schemas.openxmlformats.org/officeDocument/2006/relationships/image" Target="../media/image17.png"/><Relationship Id="rId28" Type="http://schemas.openxmlformats.org/officeDocument/2006/relationships/customXml" Target="../ink/ink8.xml"/><Relationship Id="rId10" Type="http://schemas.openxmlformats.org/officeDocument/2006/relationships/hyperlink" Target="https://de.wikipedia.org/wiki/Anwendungsfalldiagramm" TargetMode="External"/><Relationship Id="rId19" Type="http://schemas.openxmlformats.org/officeDocument/2006/relationships/image" Target="../media/image15.png"/><Relationship Id="rId31" Type="http://schemas.openxmlformats.org/officeDocument/2006/relationships/image" Target="../media/image21.png"/><Relationship Id="rId4" Type="http://schemas.openxmlformats.org/officeDocument/2006/relationships/hyperlink" Target="https://de.wikipedia.org/wiki/Kompositionsstrukturdiagramm" TargetMode="External"/><Relationship Id="rId9" Type="http://schemas.openxmlformats.org/officeDocument/2006/relationships/hyperlink" Target="https://de.wikipedia.org/wiki/Aktivit%C3%A4tsdiagramm" TargetMode="External"/><Relationship Id="rId14" Type="http://schemas.openxmlformats.org/officeDocument/2006/relationships/hyperlink" Target="https://de.wikipedia.org/wiki/Zeitverlaufsdiagramm" TargetMode="External"/><Relationship Id="rId22" Type="http://schemas.openxmlformats.org/officeDocument/2006/relationships/customXml" Target="../ink/ink5.xml"/><Relationship Id="rId27" Type="http://schemas.openxmlformats.org/officeDocument/2006/relationships/image" Target="../media/image19.png"/><Relationship Id="rId30" Type="http://schemas.openxmlformats.org/officeDocument/2006/relationships/customXml" Target="../ink/ink9.xml"/><Relationship Id="rId8" Type="http://schemas.openxmlformats.org/officeDocument/2006/relationships/hyperlink" Target="https://de.wikipedia.org/wiki/Verteilungsdiagramm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ustomXml" Target="../ink/ink45.xm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5" Type="http://schemas.openxmlformats.org/officeDocument/2006/relationships/customXml" Target="../ink/ink46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ustomXml" Target="../ink/ink50.xml"/><Relationship Id="rId3" Type="http://schemas.openxmlformats.org/officeDocument/2006/relationships/image" Target="../media/image52.png"/><Relationship Id="rId7" Type="http://schemas.openxmlformats.org/officeDocument/2006/relationships/image" Target="../media/image54.png"/><Relationship Id="rId2" Type="http://schemas.openxmlformats.org/officeDocument/2006/relationships/customXml" Target="../ink/ink47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49.xml"/><Relationship Id="rId5" Type="http://schemas.openxmlformats.org/officeDocument/2006/relationships/image" Target="../media/image53.png"/><Relationship Id="rId4" Type="http://schemas.openxmlformats.org/officeDocument/2006/relationships/customXml" Target="../ink/ink48.xml"/><Relationship Id="rId9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customXml" Target="../ink/ink56.xml"/><Relationship Id="rId18" Type="http://schemas.openxmlformats.org/officeDocument/2006/relationships/image" Target="../media/image64.png"/><Relationship Id="rId26" Type="http://schemas.openxmlformats.org/officeDocument/2006/relationships/image" Target="../media/image68.png"/><Relationship Id="rId39" Type="http://schemas.openxmlformats.org/officeDocument/2006/relationships/customXml" Target="../ink/ink69.xml"/><Relationship Id="rId21" Type="http://schemas.openxmlformats.org/officeDocument/2006/relationships/customXml" Target="../ink/ink60.xml"/><Relationship Id="rId34" Type="http://schemas.openxmlformats.org/officeDocument/2006/relationships/image" Target="../media/image87.png"/><Relationship Id="rId42" Type="http://schemas.openxmlformats.org/officeDocument/2006/relationships/image" Target="../media/image91.png"/><Relationship Id="rId7" Type="http://schemas.openxmlformats.org/officeDocument/2006/relationships/customXml" Target="../ink/ink53.xml"/><Relationship Id="rId2" Type="http://schemas.openxmlformats.org/officeDocument/2006/relationships/image" Target="../media/image56.png"/><Relationship Id="rId16" Type="http://schemas.openxmlformats.org/officeDocument/2006/relationships/image" Target="../media/image63.png"/><Relationship Id="rId29" Type="http://schemas.openxmlformats.org/officeDocument/2006/relationships/customXml" Target="../ink/ink6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png"/><Relationship Id="rId11" Type="http://schemas.openxmlformats.org/officeDocument/2006/relationships/customXml" Target="../ink/ink55.xml"/><Relationship Id="rId24" Type="http://schemas.openxmlformats.org/officeDocument/2006/relationships/image" Target="../media/image67.png"/><Relationship Id="rId32" Type="http://schemas.openxmlformats.org/officeDocument/2006/relationships/image" Target="../media/image86.png"/><Relationship Id="rId37" Type="http://schemas.openxmlformats.org/officeDocument/2006/relationships/customXml" Target="../ink/ink68.xml"/><Relationship Id="rId40" Type="http://schemas.openxmlformats.org/officeDocument/2006/relationships/image" Target="../media/image90.png"/><Relationship Id="rId45" Type="http://schemas.openxmlformats.org/officeDocument/2006/relationships/customXml" Target="../ink/ink72.xml"/><Relationship Id="rId5" Type="http://schemas.openxmlformats.org/officeDocument/2006/relationships/customXml" Target="../ink/ink52.xml"/><Relationship Id="rId15" Type="http://schemas.openxmlformats.org/officeDocument/2006/relationships/customXml" Target="../ink/ink57.xml"/><Relationship Id="rId23" Type="http://schemas.openxmlformats.org/officeDocument/2006/relationships/customXml" Target="../ink/ink61.xml"/><Relationship Id="rId28" Type="http://schemas.openxmlformats.org/officeDocument/2006/relationships/image" Target="../media/image84.png"/><Relationship Id="rId36" Type="http://schemas.openxmlformats.org/officeDocument/2006/relationships/image" Target="../media/image88.png"/><Relationship Id="rId10" Type="http://schemas.openxmlformats.org/officeDocument/2006/relationships/image" Target="../media/image60.png"/><Relationship Id="rId19" Type="http://schemas.openxmlformats.org/officeDocument/2006/relationships/customXml" Target="../ink/ink59.xml"/><Relationship Id="rId31" Type="http://schemas.openxmlformats.org/officeDocument/2006/relationships/customXml" Target="../ink/ink65.xml"/><Relationship Id="rId44" Type="http://schemas.openxmlformats.org/officeDocument/2006/relationships/image" Target="../media/image92.png"/><Relationship Id="rId4" Type="http://schemas.openxmlformats.org/officeDocument/2006/relationships/image" Target="../media/image57.png"/><Relationship Id="rId9" Type="http://schemas.openxmlformats.org/officeDocument/2006/relationships/customXml" Target="../ink/ink54.xml"/><Relationship Id="rId14" Type="http://schemas.openxmlformats.org/officeDocument/2006/relationships/image" Target="../media/image62.png"/><Relationship Id="rId22" Type="http://schemas.openxmlformats.org/officeDocument/2006/relationships/image" Target="../media/image66.png"/><Relationship Id="rId27" Type="http://schemas.openxmlformats.org/officeDocument/2006/relationships/customXml" Target="../ink/ink63.xml"/><Relationship Id="rId30" Type="http://schemas.openxmlformats.org/officeDocument/2006/relationships/image" Target="../media/image85.png"/><Relationship Id="rId35" Type="http://schemas.openxmlformats.org/officeDocument/2006/relationships/customXml" Target="../ink/ink67.xml"/><Relationship Id="rId43" Type="http://schemas.openxmlformats.org/officeDocument/2006/relationships/customXml" Target="../ink/ink71.xml"/><Relationship Id="rId8" Type="http://schemas.openxmlformats.org/officeDocument/2006/relationships/image" Target="../media/image59.png"/><Relationship Id="rId3" Type="http://schemas.openxmlformats.org/officeDocument/2006/relationships/customXml" Target="../ink/ink51.xml"/><Relationship Id="rId12" Type="http://schemas.openxmlformats.org/officeDocument/2006/relationships/image" Target="../media/image61.png"/><Relationship Id="rId17" Type="http://schemas.openxmlformats.org/officeDocument/2006/relationships/customXml" Target="../ink/ink58.xml"/><Relationship Id="rId25" Type="http://schemas.openxmlformats.org/officeDocument/2006/relationships/customXml" Target="../ink/ink62.xml"/><Relationship Id="rId33" Type="http://schemas.openxmlformats.org/officeDocument/2006/relationships/customXml" Target="../ink/ink66.xml"/><Relationship Id="rId38" Type="http://schemas.openxmlformats.org/officeDocument/2006/relationships/image" Target="../media/image89.png"/><Relationship Id="rId46" Type="http://schemas.openxmlformats.org/officeDocument/2006/relationships/image" Target="../media/image98.png"/><Relationship Id="rId20" Type="http://schemas.openxmlformats.org/officeDocument/2006/relationships/image" Target="../media/image65.png"/><Relationship Id="rId41" Type="http://schemas.openxmlformats.org/officeDocument/2006/relationships/customXml" Target="../ink/ink7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ustomXml" Target="../ink/ink76.xml"/><Relationship Id="rId13" Type="http://schemas.openxmlformats.org/officeDocument/2006/relationships/image" Target="../media/image104.png"/><Relationship Id="rId18" Type="http://schemas.openxmlformats.org/officeDocument/2006/relationships/customXml" Target="../ink/ink81.xml"/><Relationship Id="rId3" Type="http://schemas.openxmlformats.org/officeDocument/2006/relationships/image" Target="../media/image99.png"/><Relationship Id="rId7" Type="http://schemas.openxmlformats.org/officeDocument/2006/relationships/image" Target="../media/image101.png"/><Relationship Id="rId12" Type="http://schemas.openxmlformats.org/officeDocument/2006/relationships/customXml" Target="../ink/ink78.xml"/><Relationship Id="rId17" Type="http://schemas.openxmlformats.org/officeDocument/2006/relationships/image" Target="../media/image106.png"/><Relationship Id="rId2" Type="http://schemas.openxmlformats.org/officeDocument/2006/relationships/customXml" Target="../ink/ink73.xml"/><Relationship Id="rId16" Type="http://schemas.openxmlformats.org/officeDocument/2006/relationships/customXml" Target="../ink/ink80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75.xml"/><Relationship Id="rId11" Type="http://schemas.openxmlformats.org/officeDocument/2006/relationships/image" Target="../media/image103.png"/><Relationship Id="rId5" Type="http://schemas.openxmlformats.org/officeDocument/2006/relationships/image" Target="../media/image100.png"/><Relationship Id="rId15" Type="http://schemas.openxmlformats.org/officeDocument/2006/relationships/image" Target="../media/image105.png"/><Relationship Id="rId10" Type="http://schemas.openxmlformats.org/officeDocument/2006/relationships/customXml" Target="../ink/ink77.xml"/><Relationship Id="rId19" Type="http://schemas.openxmlformats.org/officeDocument/2006/relationships/image" Target="../media/image107.png"/><Relationship Id="rId4" Type="http://schemas.openxmlformats.org/officeDocument/2006/relationships/customXml" Target="../ink/ink74.xml"/><Relationship Id="rId9" Type="http://schemas.openxmlformats.org/officeDocument/2006/relationships/image" Target="../media/image102.png"/><Relationship Id="rId14" Type="http://schemas.openxmlformats.org/officeDocument/2006/relationships/customXml" Target="../ink/ink7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ustomXml" Target="../ink/ink82.xml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0.png"/><Relationship Id="rId5" Type="http://schemas.openxmlformats.org/officeDocument/2006/relationships/customXml" Target="../ink/ink83.xml"/><Relationship Id="rId4" Type="http://schemas.openxmlformats.org/officeDocument/2006/relationships/image" Target="../media/image10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ustomXml" Target="../ink/ink84.xml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customXml" Target="../ink/ink11.xml"/><Relationship Id="rId7" Type="http://schemas.openxmlformats.org/officeDocument/2006/relationships/customXml" Target="../ink/ink13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customXml" Target="../ink/ink12.xml"/><Relationship Id="rId10" Type="http://schemas.openxmlformats.org/officeDocument/2006/relationships/image" Target="../media/image27.png"/><Relationship Id="rId4" Type="http://schemas.openxmlformats.org/officeDocument/2006/relationships/image" Target="../media/image24.png"/><Relationship Id="rId9" Type="http://schemas.openxmlformats.org/officeDocument/2006/relationships/customXml" Target="../ink/ink1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ustomXml" Target="../ink/ink88.xml"/><Relationship Id="rId3" Type="http://schemas.openxmlformats.org/officeDocument/2006/relationships/image" Target="../media/image113.png"/><Relationship Id="rId7" Type="http://schemas.openxmlformats.org/officeDocument/2006/relationships/image" Target="../media/image115.png"/><Relationship Id="rId2" Type="http://schemas.openxmlformats.org/officeDocument/2006/relationships/customXml" Target="../ink/ink85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87.xml"/><Relationship Id="rId5" Type="http://schemas.openxmlformats.org/officeDocument/2006/relationships/image" Target="../media/image114.png"/><Relationship Id="rId4" Type="http://schemas.openxmlformats.org/officeDocument/2006/relationships/customXml" Target="../ink/ink86.xml"/><Relationship Id="rId9" Type="http://schemas.openxmlformats.org/officeDocument/2006/relationships/image" Target="../media/image11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ustomXml" Target="../ink/ink92.xml"/><Relationship Id="rId13" Type="http://schemas.openxmlformats.org/officeDocument/2006/relationships/image" Target="../media/image122.png"/><Relationship Id="rId18" Type="http://schemas.openxmlformats.org/officeDocument/2006/relationships/customXml" Target="../ink/ink97.xml"/><Relationship Id="rId26" Type="http://schemas.openxmlformats.org/officeDocument/2006/relationships/image" Target="../media/image128.png"/><Relationship Id="rId3" Type="http://schemas.openxmlformats.org/officeDocument/2006/relationships/image" Target="../media/image117.png"/><Relationship Id="rId21" Type="http://schemas.openxmlformats.org/officeDocument/2006/relationships/image" Target="../media/image126.png"/><Relationship Id="rId7" Type="http://schemas.openxmlformats.org/officeDocument/2006/relationships/image" Target="../media/image119.png"/><Relationship Id="rId12" Type="http://schemas.openxmlformats.org/officeDocument/2006/relationships/customXml" Target="../ink/ink94.xml"/><Relationship Id="rId17" Type="http://schemas.openxmlformats.org/officeDocument/2006/relationships/image" Target="../media/image124.png"/><Relationship Id="rId25" Type="http://schemas.openxmlformats.org/officeDocument/2006/relationships/customXml" Target="../ink/ink101.xml"/><Relationship Id="rId2" Type="http://schemas.openxmlformats.org/officeDocument/2006/relationships/customXml" Target="../ink/ink89.xml"/><Relationship Id="rId16" Type="http://schemas.openxmlformats.org/officeDocument/2006/relationships/customXml" Target="../ink/ink96.xml"/><Relationship Id="rId20" Type="http://schemas.openxmlformats.org/officeDocument/2006/relationships/customXml" Target="../ink/ink98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91.xml"/><Relationship Id="rId11" Type="http://schemas.openxmlformats.org/officeDocument/2006/relationships/image" Target="../media/image121.png"/><Relationship Id="rId24" Type="http://schemas.openxmlformats.org/officeDocument/2006/relationships/customXml" Target="../ink/ink100.xml"/><Relationship Id="rId5" Type="http://schemas.openxmlformats.org/officeDocument/2006/relationships/image" Target="../media/image118.png"/><Relationship Id="rId15" Type="http://schemas.openxmlformats.org/officeDocument/2006/relationships/image" Target="../media/image123.png"/><Relationship Id="rId23" Type="http://schemas.openxmlformats.org/officeDocument/2006/relationships/image" Target="../media/image127.png"/><Relationship Id="rId10" Type="http://schemas.openxmlformats.org/officeDocument/2006/relationships/customXml" Target="../ink/ink93.xml"/><Relationship Id="rId19" Type="http://schemas.openxmlformats.org/officeDocument/2006/relationships/image" Target="../media/image125.png"/><Relationship Id="rId4" Type="http://schemas.openxmlformats.org/officeDocument/2006/relationships/customXml" Target="../ink/ink90.xml"/><Relationship Id="rId9" Type="http://schemas.openxmlformats.org/officeDocument/2006/relationships/image" Target="../media/image120.png"/><Relationship Id="rId14" Type="http://schemas.openxmlformats.org/officeDocument/2006/relationships/customXml" Target="../ink/ink95.xml"/><Relationship Id="rId22" Type="http://schemas.openxmlformats.org/officeDocument/2006/relationships/customXml" Target="../ink/ink9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customXml" Target="../ink/ink10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0.png"/><Relationship Id="rId4" Type="http://schemas.openxmlformats.org/officeDocument/2006/relationships/customXml" Target="../ink/ink10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customXml" Target="../ink/ink16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customXml" Target="../ink/ink17.xml"/><Relationship Id="rId7" Type="http://schemas.openxmlformats.org/officeDocument/2006/relationships/customXml" Target="../ink/ink19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4.png"/><Relationship Id="rId5" Type="http://schemas.openxmlformats.org/officeDocument/2006/relationships/customXml" Target="../ink/ink18.xml"/><Relationship Id="rId10" Type="http://schemas.openxmlformats.org/officeDocument/2006/relationships/image" Target="../media/image96.png"/><Relationship Id="rId4" Type="http://schemas.openxmlformats.org/officeDocument/2006/relationships/image" Target="../media/image93.png"/><Relationship Id="rId9" Type="http://schemas.openxmlformats.org/officeDocument/2006/relationships/customXml" Target="../ink/ink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customXml" Target="../ink/ink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ustomXml" Target="../ink/ink24.xml"/><Relationship Id="rId13" Type="http://schemas.openxmlformats.org/officeDocument/2006/relationships/image" Target="../media/image30.png"/><Relationship Id="rId3" Type="http://schemas.openxmlformats.org/officeDocument/2006/relationships/image" Target="../media/image12.png"/><Relationship Id="rId7" Type="http://schemas.openxmlformats.org/officeDocument/2006/relationships/image" Target="../media/image23.png"/><Relationship Id="rId12" Type="http://schemas.openxmlformats.org/officeDocument/2006/relationships/customXml" Target="../ink/ink26.xml"/><Relationship Id="rId17" Type="http://schemas.openxmlformats.org/officeDocument/2006/relationships/image" Target="../media/image32.png"/><Relationship Id="rId2" Type="http://schemas.openxmlformats.org/officeDocument/2006/relationships/image" Target="../media/image11.png"/><Relationship Id="rId16" Type="http://schemas.openxmlformats.org/officeDocument/2006/relationships/customXml" Target="../ink/ink28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23.xml"/><Relationship Id="rId11" Type="http://schemas.openxmlformats.org/officeDocument/2006/relationships/image" Target="../media/image29.png"/><Relationship Id="rId5" Type="http://schemas.openxmlformats.org/officeDocument/2006/relationships/image" Target="../media/image13.png"/><Relationship Id="rId15" Type="http://schemas.openxmlformats.org/officeDocument/2006/relationships/image" Target="../media/image31.png"/><Relationship Id="rId10" Type="http://schemas.openxmlformats.org/officeDocument/2006/relationships/customXml" Target="../ink/ink25.xml"/><Relationship Id="rId4" Type="http://schemas.openxmlformats.org/officeDocument/2006/relationships/customXml" Target="../ink/ink22.xml"/><Relationship Id="rId9" Type="http://schemas.openxmlformats.org/officeDocument/2006/relationships/image" Target="../media/image28.png"/><Relationship Id="rId14" Type="http://schemas.openxmlformats.org/officeDocument/2006/relationships/customXml" Target="../ink/ink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29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30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2855640" y="2360960"/>
            <a:ext cx="64807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50515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rbereitung Abschlussprüfung / FP Projektbegleitung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Peter Bartholot</a:t>
            </a:r>
          </a:p>
          <a:p>
            <a:pPr algn="ctr"/>
            <a:r>
              <a:rPr lang="de-DE" dirty="0"/>
              <a:t>25.09.2025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Freihand 3"/>
              <p14:cNvContentPartPr/>
              <p14:nvPr/>
            </p14:nvContentPartPr>
            <p14:xfrm>
              <a:off x="3779774" y="3476696"/>
              <a:ext cx="360" cy="360"/>
            </p14:xfrm>
          </p:contentPart>
        </mc:Choice>
        <mc:Fallback xmlns="">
          <p:pic>
            <p:nvPicPr>
              <p:cNvPr id="4" name="Freihand 3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71494" y="3468416"/>
                <a:ext cx="16920" cy="1692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B6909CBF-771D-814B-2F99-73EF2AF1F8BA}"/>
              </a:ext>
            </a:extLst>
          </p:cNvPr>
          <p:cNvSpPr txBox="1"/>
          <p:nvPr/>
        </p:nvSpPr>
        <p:spPr>
          <a:xfrm>
            <a:off x="2786734" y="4463713"/>
            <a:ext cx="69847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leitzeit:</a:t>
            </a:r>
          </a:p>
          <a:p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Beginn 8:45 Uhr</a:t>
            </a:r>
          </a:p>
          <a:p>
            <a:pPr marL="285750" indent="-285750">
              <a:buFontTx/>
              <a:buChar char="-"/>
            </a:pPr>
            <a:r>
              <a:rPr lang="de-DE" dirty="0"/>
              <a:t>Von 8:00 – 8:45 Gleitzeit – Eigenarbeit </a:t>
            </a:r>
          </a:p>
        </p:txBody>
      </p:sp>
    </p:spTree>
    <p:extLst>
      <p:ext uri="{BB962C8B-B14F-4D97-AF65-F5344CB8AC3E}">
        <p14:creationId xmlns:p14="http://schemas.microsoft.com/office/powerpoint/2010/main" val="2008319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2FB3B7-7C4F-49B3-6D2E-918097AB35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95C5CDC2-7F43-E5E0-475C-D654AAE673F6}"/>
              </a:ext>
            </a:extLst>
          </p:cNvPr>
          <p:cNvSpPr txBox="1"/>
          <p:nvPr/>
        </p:nvSpPr>
        <p:spPr>
          <a:xfrm>
            <a:off x="424542" y="669471"/>
            <a:ext cx="4645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Xml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dt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ocument</a:t>
            </a:r>
            <a:r>
              <a:rPr lang="de-DE" dirty="0">
                <a:sym typeface="Wingdings" panose="05000000000000000000" pitchFamily="2" charset="2"/>
              </a:rPr>
              <a:t> type </a:t>
            </a:r>
            <a:r>
              <a:rPr lang="de-DE" dirty="0" err="1">
                <a:sym typeface="Wingdings" panose="05000000000000000000" pitchFamily="2" charset="2"/>
              </a:rPr>
              <a:t>definition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909C35F-F81A-43DD-EAE0-119C3D7A8ABE}"/>
              </a:ext>
            </a:extLst>
          </p:cNvPr>
          <p:cNvSpPr txBox="1"/>
          <p:nvPr/>
        </p:nvSpPr>
        <p:spPr>
          <a:xfrm>
            <a:off x="3049361" y="1455795"/>
            <a:ext cx="6147706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&lt;?</a:t>
            </a:r>
            <a:r>
              <a:rPr lang="de-DE" dirty="0" err="1">
                <a:latin typeface="Courier New" panose="02070309020205020404" pitchFamily="49" charset="0"/>
              </a:rPr>
              <a:t>xml</a:t>
            </a:r>
            <a:r>
              <a:rPr lang="de-DE" dirty="0">
                <a:latin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</a:rPr>
              <a:t>version</a:t>
            </a:r>
            <a:r>
              <a:rPr lang="de-DE" dirty="0">
                <a:latin typeface="Courier New" panose="02070309020205020404" pitchFamily="49" charset="0"/>
              </a:rPr>
              <a:t>="1.0"?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&lt;!DOCTYPE </a:t>
            </a:r>
            <a:r>
              <a:rPr lang="de-DE" dirty="0" err="1">
                <a:latin typeface="Courier New" panose="02070309020205020404" pitchFamily="49" charset="0"/>
              </a:rPr>
              <a:t>person</a:t>
            </a:r>
            <a:r>
              <a:rPr lang="de-DE" dirty="0">
                <a:latin typeface="Courier New" panose="02070309020205020404" pitchFamily="49" charset="0"/>
              </a:rPr>
              <a:t> [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!ELEMENT </a:t>
            </a:r>
            <a:r>
              <a:rPr lang="de-DE" dirty="0" err="1">
                <a:latin typeface="Courier New" panose="02070309020205020404" pitchFamily="49" charset="0"/>
              </a:rPr>
              <a:t>person</a:t>
            </a:r>
            <a:r>
              <a:rPr lang="de-DE" dirty="0">
                <a:latin typeface="Courier New" panose="02070309020205020404" pitchFamily="49" charset="0"/>
              </a:rPr>
              <a:t> (</a:t>
            </a:r>
            <a:r>
              <a:rPr lang="de-DE" dirty="0" err="1">
                <a:latin typeface="Courier New" panose="02070309020205020404" pitchFamily="49" charset="0"/>
              </a:rPr>
              <a:t>name</a:t>
            </a:r>
            <a:r>
              <a:rPr lang="de-DE" dirty="0">
                <a:latin typeface="Courier New" panose="02070309020205020404" pitchFamily="49" charset="0"/>
              </a:rPr>
              <a:t>+, beruf*)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!ELEMENT </a:t>
            </a:r>
            <a:r>
              <a:rPr lang="de-DE" dirty="0" err="1">
                <a:latin typeface="Courier New" panose="02070309020205020404" pitchFamily="49" charset="0"/>
              </a:rPr>
              <a:t>name</a:t>
            </a:r>
            <a:r>
              <a:rPr lang="de-DE" dirty="0">
                <a:latin typeface="Courier New" panose="02070309020205020404" pitchFamily="49" charset="0"/>
              </a:rPr>
              <a:t> EMPTY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!ATTLIST </a:t>
            </a:r>
            <a:r>
              <a:rPr lang="de-DE" dirty="0" err="1">
                <a:latin typeface="Courier New" panose="02070309020205020404" pitchFamily="49" charset="0"/>
              </a:rPr>
              <a:t>name</a:t>
            </a:r>
            <a:r>
              <a:rPr lang="de-DE" dirty="0">
                <a:latin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</a:rPr>
              <a:t>vorname</a:t>
            </a:r>
            <a:r>
              <a:rPr lang="de-DE" dirty="0">
                <a:latin typeface="Courier New" panose="02070309020205020404" pitchFamily="49" charset="0"/>
              </a:rPr>
              <a:t> CDATA #REQUIRED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               </a:t>
            </a:r>
            <a:r>
              <a:rPr lang="de-DE" dirty="0" err="1">
                <a:latin typeface="Courier New" panose="02070309020205020404" pitchFamily="49" charset="0"/>
              </a:rPr>
              <a:t>nachname</a:t>
            </a:r>
            <a:r>
              <a:rPr lang="de-DE" dirty="0">
                <a:latin typeface="Courier New" panose="02070309020205020404" pitchFamily="49" charset="0"/>
              </a:rPr>
              <a:t> CDATA #REQUIRED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!ELEMENT beruf EMPTY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!ATTLIST beruf wert CDATA #REQUIRED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]&gt;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F1FD43D-9D64-DA6D-2EA9-CDE34B65A406}"/>
              </a:ext>
            </a:extLst>
          </p:cNvPr>
          <p:cNvSpPr txBox="1"/>
          <p:nvPr/>
        </p:nvSpPr>
        <p:spPr>
          <a:xfrm>
            <a:off x="2861582" y="4727620"/>
            <a:ext cx="614770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&lt;</a:t>
            </a:r>
            <a:r>
              <a:rPr lang="de-DE" dirty="0" err="1">
                <a:latin typeface="Courier New" panose="02070309020205020404" pitchFamily="49" charset="0"/>
              </a:rPr>
              <a:t>person</a:t>
            </a:r>
            <a:r>
              <a:rPr lang="de-DE" dirty="0">
                <a:latin typeface="Courier New" panose="02070309020205020404" pitchFamily="49" charset="0"/>
              </a:rPr>
              <a:t>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</a:t>
            </a:r>
            <a:r>
              <a:rPr lang="de-DE" dirty="0" err="1">
                <a:latin typeface="Courier New" panose="02070309020205020404" pitchFamily="49" charset="0"/>
              </a:rPr>
              <a:t>name</a:t>
            </a:r>
            <a:r>
              <a:rPr lang="de-DE" dirty="0">
                <a:latin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</a:rPr>
              <a:t>vorname</a:t>
            </a:r>
            <a:r>
              <a:rPr lang="de-DE" dirty="0">
                <a:latin typeface="Courier New" panose="02070309020205020404" pitchFamily="49" charset="0"/>
              </a:rPr>
              <a:t>="Alan" </a:t>
            </a:r>
            <a:r>
              <a:rPr lang="de-DE" dirty="0" err="1">
                <a:latin typeface="Courier New" panose="02070309020205020404" pitchFamily="49" charset="0"/>
              </a:rPr>
              <a:t>nachname</a:t>
            </a:r>
            <a:r>
              <a:rPr lang="de-DE" dirty="0">
                <a:latin typeface="Courier New" panose="02070309020205020404" pitchFamily="49" charset="0"/>
              </a:rPr>
              <a:t>="Turing"/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beruf wert="Informatiker"/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beruf wert="Mathematiker"/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   &lt;beruf wert="Kryptograph"/&gt;</a:t>
            </a:r>
          </a:p>
          <a:p>
            <a:pPr>
              <a:buNone/>
            </a:pPr>
            <a:r>
              <a:rPr lang="de-DE" dirty="0">
                <a:latin typeface="Courier New" panose="02070309020205020404" pitchFamily="49" charset="0"/>
              </a:rPr>
              <a:t>&lt;/</a:t>
            </a:r>
            <a:r>
              <a:rPr lang="de-DE" dirty="0" err="1">
                <a:latin typeface="Courier New" panose="02070309020205020404" pitchFamily="49" charset="0"/>
              </a:rPr>
              <a:t>person</a:t>
            </a:r>
            <a:r>
              <a:rPr lang="de-DE" dirty="0">
                <a:latin typeface="Courier New" panose="02070309020205020404" pitchFamily="49" charset="0"/>
              </a:rPr>
              <a:t>&gt;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7B8FD418-B776-F1AD-FE8F-0730BB7402B6}"/>
                  </a:ext>
                </a:extLst>
              </p14:cNvPr>
              <p14:cNvContentPartPr/>
              <p14:nvPr/>
            </p14:nvContentPartPr>
            <p14:xfrm>
              <a:off x="4563643" y="1951329"/>
              <a:ext cx="738720" cy="33120"/>
            </p14:xfrm>
          </p:contentPart>
        </mc:Choice>
        <mc:Fallback xmlns=""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7B8FD418-B776-F1AD-FE8F-0730BB7402B6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509643" y="1843329"/>
                <a:ext cx="846360" cy="248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8" name="Freihand 7">
                <a:extLst>
                  <a:ext uri="{FF2B5EF4-FFF2-40B4-BE49-F238E27FC236}">
                    <a16:creationId xmlns:a16="http://schemas.microsoft.com/office/drawing/2014/main" id="{0BF852E8-D78B-4D62-AE4A-D533F09B0F57}"/>
                  </a:ext>
                </a:extLst>
              </p14:cNvPr>
              <p14:cNvContentPartPr/>
              <p14:nvPr/>
            </p14:nvContentPartPr>
            <p14:xfrm>
              <a:off x="3077563" y="4971729"/>
              <a:ext cx="797760" cy="16920"/>
            </p14:xfrm>
          </p:contentPart>
        </mc:Choice>
        <mc:Fallback xmlns="">
          <p:pic>
            <p:nvPicPr>
              <p:cNvPr id="8" name="Freihand 7">
                <a:extLst>
                  <a:ext uri="{FF2B5EF4-FFF2-40B4-BE49-F238E27FC236}">
                    <a16:creationId xmlns:a16="http://schemas.microsoft.com/office/drawing/2014/main" id="{0BF852E8-D78B-4D62-AE4A-D533F09B0F5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023923" y="4864089"/>
                <a:ext cx="905400" cy="232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E5FC61E5-BF96-F56E-CB28-C88EAA7F9D38}"/>
                  </a:ext>
                </a:extLst>
              </p14:cNvPr>
              <p14:cNvContentPartPr/>
              <p14:nvPr/>
            </p14:nvContentPartPr>
            <p14:xfrm>
              <a:off x="3180883" y="6293649"/>
              <a:ext cx="844200" cy="66240"/>
            </p14:xfrm>
          </p:contentPart>
        </mc:Choice>
        <mc:Fallback xmlns=""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E5FC61E5-BF96-F56E-CB28-C88EAA7F9D38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127243" y="6186009"/>
                <a:ext cx="951840" cy="281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C46AEB1D-A1AD-670E-740A-F05742B5CCD7}"/>
                  </a:ext>
                </a:extLst>
              </p14:cNvPr>
              <p14:cNvContentPartPr/>
              <p14:nvPr/>
            </p14:nvContentPartPr>
            <p14:xfrm>
              <a:off x="4971883" y="2750169"/>
              <a:ext cx="1598400" cy="1800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C46AEB1D-A1AD-670E-740A-F05742B5CCD7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917883" y="2642169"/>
                <a:ext cx="1706040" cy="233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DA38E8DB-7351-7F49-AE39-400B81B7466E}"/>
                  </a:ext>
                </a:extLst>
              </p14:cNvPr>
              <p14:cNvContentPartPr/>
              <p14:nvPr/>
            </p14:nvContentPartPr>
            <p14:xfrm>
              <a:off x="3540523" y="5167569"/>
              <a:ext cx="1666440" cy="5616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DA38E8DB-7351-7F49-AE39-400B81B7466E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486883" y="5059929"/>
                <a:ext cx="1774080" cy="271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E119B7E5-7D74-8D67-CD20-0DDBF94738E5}"/>
                  </a:ext>
                </a:extLst>
              </p14:cNvPr>
              <p14:cNvContentPartPr/>
              <p14:nvPr/>
            </p14:nvContentPartPr>
            <p14:xfrm>
              <a:off x="5429083" y="2759529"/>
              <a:ext cx="177120" cy="13680"/>
            </p14:xfrm>
          </p:contentPart>
        </mc:Choice>
        <mc:Fallback xmlns=""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E119B7E5-7D74-8D67-CD20-0DDBF94738E5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411083" y="2741529"/>
                <a:ext cx="212760" cy="49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CD4E38CD-7D34-EE48-7E23-3916D4686E73}"/>
                  </a:ext>
                </a:extLst>
              </p14:cNvPr>
              <p14:cNvContentPartPr/>
              <p14:nvPr/>
            </p14:nvContentPartPr>
            <p14:xfrm>
              <a:off x="5388403" y="2824689"/>
              <a:ext cx="163800" cy="204480"/>
            </p14:xfrm>
          </p:contentPart>
        </mc:Choice>
        <mc:Fallback xmlns=""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CD4E38CD-7D34-EE48-7E23-3916D4686E73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370403" y="2806689"/>
                <a:ext cx="199440" cy="240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F3CAF649-9E36-EC07-DC61-F2E933920249}"/>
                  </a:ext>
                </a:extLst>
              </p14:cNvPr>
              <p14:cNvContentPartPr/>
              <p14:nvPr/>
            </p14:nvContentPartPr>
            <p14:xfrm>
              <a:off x="3551323" y="5331009"/>
              <a:ext cx="492840" cy="360"/>
            </p14:xfrm>
          </p:contentPart>
        </mc:Choice>
        <mc:Fallback xmlns=""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F3CAF649-9E36-EC07-DC61-F2E933920249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533323" y="5313369"/>
                <a:ext cx="52848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0B098F1E-FC1A-F83F-ABC8-BFC98536406B}"/>
                  </a:ext>
                </a:extLst>
              </p14:cNvPr>
              <p14:cNvContentPartPr/>
              <p14:nvPr/>
            </p14:nvContentPartPr>
            <p14:xfrm>
              <a:off x="4555723" y="5306529"/>
              <a:ext cx="150120" cy="36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0B098F1E-FC1A-F83F-ABC8-BFC98536406B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537723" y="5288889"/>
                <a:ext cx="18576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7" name="Freihand 16">
                <a:extLst>
                  <a:ext uri="{FF2B5EF4-FFF2-40B4-BE49-F238E27FC236}">
                    <a16:creationId xmlns:a16="http://schemas.microsoft.com/office/drawing/2014/main" id="{E142A24B-C989-E5DC-DF61-141B1C604253}"/>
                  </a:ext>
                </a:extLst>
              </p14:cNvPr>
              <p14:cNvContentPartPr/>
              <p14:nvPr/>
            </p14:nvContentPartPr>
            <p14:xfrm>
              <a:off x="6621043" y="5339289"/>
              <a:ext cx="328320" cy="360"/>
            </p14:xfrm>
          </p:contentPart>
        </mc:Choice>
        <mc:Fallback xmlns="">
          <p:pic>
            <p:nvPicPr>
              <p:cNvPr id="17" name="Freihand 16">
                <a:extLst>
                  <a:ext uri="{FF2B5EF4-FFF2-40B4-BE49-F238E27FC236}">
                    <a16:creationId xmlns:a16="http://schemas.microsoft.com/office/drawing/2014/main" id="{E142A24B-C989-E5DC-DF61-141B1C604253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603043" y="5321649"/>
                <a:ext cx="36396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18" name="Freihand 17">
                <a:extLst>
                  <a:ext uri="{FF2B5EF4-FFF2-40B4-BE49-F238E27FC236}">
                    <a16:creationId xmlns:a16="http://schemas.microsoft.com/office/drawing/2014/main" id="{E0B568CD-280E-57DF-8E40-E91ACAF6F636}"/>
                  </a:ext>
                </a:extLst>
              </p14:cNvPr>
              <p14:cNvContentPartPr/>
              <p14:nvPr/>
            </p14:nvContentPartPr>
            <p14:xfrm>
              <a:off x="7257883" y="5461689"/>
              <a:ext cx="222120" cy="142560"/>
            </p14:xfrm>
          </p:contentPart>
        </mc:Choice>
        <mc:Fallback xmlns="">
          <p:pic>
            <p:nvPicPr>
              <p:cNvPr id="18" name="Freihand 17">
                <a:extLst>
                  <a:ext uri="{FF2B5EF4-FFF2-40B4-BE49-F238E27FC236}">
                    <a16:creationId xmlns:a16="http://schemas.microsoft.com/office/drawing/2014/main" id="{E0B568CD-280E-57DF-8E40-E91ACAF6F636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7239883" y="5443689"/>
                <a:ext cx="257760" cy="178200"/>
              </a:xfrm>
              <a:prstGeom prst="rect">
                <a:avLst/>
              </a:prstGeom>
            </p:spPr>
          </p:pic>
        </mc:Fallback>
      </mc:AlternateContent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8909F69-648D-4DB2-E15E-4772F9582FD8}"/>
              </a:ext>
            </a:extLst>
          </p:cNvPr>
          <p:cNvGrpSpPr/>
          <p:nvPr/>
        </p:nvGrpSpPr>
        <p:grpSpPr>
          <a:xfrm>
            <a:off x="7215763" y="5740689"/>
            <a:ext cx="326880" cy="342720"/>
            <a:chOff x="7215763" y="5740689"/>
            <a:chExt cx="326880" cy="3427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4">
              <p14:nvContentPartPr>
                <p14:cNvPr id="19" name="Freihand 18">
                  <a:extLst>
                    <a:ext uri="{FF2B5EF4-FFF2-40B4-BE49-F238E27FC236}">
                      <a16:creationId xmlns:a16="http://schemas.microsoft.com/office/drawing/2014/main" id="{8BD0FCC3-5D73-79A0-82DA-90A58AC984F3}"/>
                    </a:ext>
                  </a:extLst>
                </p14:cNvPr>
                <p14:cNvContentPartPr/>
                <p14:nvPr/>
              </p14:nvContentPartPr>
              <p14:xfrm>
                <a:off x="7306843" y="5740689"/>
                <a:ext cx="235800" cy="61200"/>
              </p14:xfrm>
            </p:contentPart>
          </mc:Choice>
          <mc:Fallback xmlns="">
            <p:pic>
              <p:nvPicPr>
                <p:cNvPr id="19" name="Freihand 18">
                  <a:extLst>
                    <a:ext uri="{FF2B5EF4-FFF2-40B4-BE49-F238E27FC236}">
                      <a16:creationId xmlns:a16="http://schemas.microsoft.com/office/drawing/2014/main" id="{8BD0FCC3-5D73-79A0-82DA-90A58AC984F3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7288843" y="5723049"/>
                  <a:ext cx="271440" cy="9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6">
              <p14:nvContentPartPr>
                <p14:cNvPr id="20" name="Freihand 19">
                  <a:extLst>
                    <a:ext uri="{FF2B5EF4-FFF2-40B4-BE49-F238E27FC236}">
                      <a16:creationId xmlns:a16="http://schemas.microsoft.com/office/drawing/2014/main" id="{7DB67971-60A6-33DD-AED1-48B0AB70648E}"/>
                    </a:ext>
                  </a:extLst>
                </p14:cNvPr>
                <p14:cNvContentPartPr/>
                <p14:nvPr/>
              </p14:nvContentPartPr>
              <p14:xfrm>
                <a:off x="7506283" y="5804769"/>
                <a:ext cx="5040" cy="360"/>
              </p14:xfrm>
            </p:contentPart>
          </mc:Choice>
          <mc:Fallback xmlns="">
            <p:pic>
              <p:nvPicPr>
                <p:cNvPr id="20" name="Freihand 19">
                  <a:extLst>
                    <a:ext uri="{FF2B5EF4-FFF2-40B4-BE49-F238E27FC236}">
                      <a16:creationId xmlns:a16="http://schemas.microsoft.com/office/drawing/2014/main" id="{7DB67971-60A6-33DD-AED1-48B0AB70648E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7488643" y="5786769"/>
                  <a:ext cx="4068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8">
              <p14:nvContentPartPr>
                <p14:cNvPr id="21" name="Freihand 20">
                  <a:extLst>
                    <a:ext uri="{FF2B5EF4-FFF2-40B4-BE49-F238E27FC236}">
                      <a16:creationId xmlns:a16="http://schemas.microsoft.com/office/drawing/2014/main" id="{633DF825-211B-198D-AEC1-EFCC1384E187}"/>
                    </a:ext>
                  </a:extLst>
                </p14:cNvPr>
                <p14:cNvContentPartPr/>
                <p14:nvPr/>
              </p14:nvContentPartPr>
              <p14:xfrm>
                <a:off x="7215763" y="5813049"/>
                <a:ext cx="260640" cy="270360"/>
              </p14:xfrm>
            </p:contentPart>
          </mc:Choice>
          <mc:Fallback xmlns="">
            <p:pic>
              <p:nvPicPr>
                <p:cNvPr id="21" name="Freihand 20">
                  <a:extLst>
                    <a:ext uri="{FF2B5EF4-FFF2-40B4-BE49-F238E27FC236}">
                      <a16:creationId xmlns:a16="http://schemas.microsoft.com/office/drawing/2014/main" id="{633DF825-211B-198D-AEC1-EFCC1384E187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7198123" y="5795049"/>
                  <a:ext cx="296280" cy="3060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9713558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1FB4E-7D35-DF28-8D6A-AC423257DA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53B6EAF2-D8D8-5C10-F0BA-3CD3308C93C6}"/>
              </a:ext>
            </a:extLst>
          </p:cNvPr>
          <p:cNvSpPr txBox="1"/>
          <p:nvPr/>
        </p:nvSpPr>
        <p:spPr>
          <a:xfrm>
            <a:off x="1702253" y="1414093"/>
            <a:ext cx="7294789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Was ist eine DTD und wofür braucht man sie?</a:t>
            </a:r>
          </a:p>
          <a:p>
            <a:pPr>
              <a:buNone/>
            </a:pPr>
            <a:r>
              <a:rPr lang="de-DE" dirty="0"/>
              <a:t>Eine DTD (</a:t>
            </a:r>
            <a:r>
              <a:rPr lang="de-DE" dirty="0" err="1"/>
              <a:t>Document</a:t>
            </a:r>
            <a:r>
              <a:rPr lang="de-DE" dirty="0"/>
              <a:t> Type Definition) ist eine Grammatik, die die Struktur und den erlaubten Inhalt von XML-Dokumenten definiert. Sie dient zur:</a:t>
            </a:r>
          </a:p>
          <a:p>
            <a:pPr>
              <a:buNone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Validierung</a:t>
            </a:r>
            <a:r>
              <a:rPr lang="de-DE" dirty="0"/>
              <a:t>: Prüfung ob XML-Dokumente korrekt strukturiert sind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Dokumentation</a:t>
            </a:r>
            <a:r>
              <a:rPr lang="de-DE" dirty="0"/>
              <a:t>: Beschreibung der erlaubten Struktur für Entwickler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Konsistenz</a:t>
            </a:r>
            <a:r>
              <a:rPr lang="de-DE" dirty="0"/>
              <a:t>: Sicherstellung einheitlicher Datenstruktur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Interoperabilität</a:t>
            </a:r>
            <a:r>
              <a:rPr lang="de-DE" dirty="0"/>
              <a:t>: Standardisierung für Datenaustausch</a:t>
            </a:r>
          </a:p>
        </p:txBody>
      </p:sp>
    </p:spTree>
    <p:extLst>
      <p:ext uri="{BB962C8B-B14F-4D97-AF65-F5344CB8AC3E}">
        <p14:creationId xmlns:p14="http://schemas.microsoft.com/office/powerpoint/2010/main" val="32231272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0EF67-3665-24A9-35E1-FFA9141E5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D8691485-24A0-49C7-8CF6-EA1FF6AFF7A0}"/>
              </a:ext>
            </a:extLst>
          </p:cNvPr>
          <p:cNvSpPr txBox="1"/>
          <p:nvPr/>
        </p:nvSpPr>
        <p:spPr>
          <a:xfrm>
            <a:off x="1432833" y="1884981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1. Element-Deklarationen (</a:t>
            </a:r>
            <a:r>
              <a:rPr lang="de-DE" dirty="0">
                <a:latin typeface="Courier New" panose="02070309020205020404" pitchFamily="49" charset="0"/>
              </a:rPr>
              <a:t>&lt;!ELEMENT&gt;</a:t>
            </a:r>
            <a:r>
              <a:rPr lang="de-DE" dirty="0"/>
              <a:t>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5C27DC-96ED-6B38-61C0-C86CC3493BE3}"/>
              </a:ext>
            </a:extLst>
          </p:cNvPr>
          <p:cNvSpPr txBox="1"/>
          <p:nvPr/>
        </p:nvSpPr>
        <p:spPr>
          <a:xfrm>
            <a:off x="1881868" y="2988333"/>
            <a:ext cx="614770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#PCDATA: Nur Text erlaubt</a:t>
            </a:r>
          </a:p>
          <a:p>
            <a:r>
              <a:rPr lang="de-DE" dirty="0"/>
              <a:t>(element1, element2): Sequenz von </a:t>
            </a:r>
            <a:r>
              <a:rPr lang="de-DE" dirty="0" err="1"/>
              <a:t>Kindelementen</a:t>
            </a:r>
            <a:endParaRPr lang="de-DE" dirty="0"/>
          </a:p>
          <a:p>
            <a:r>
              <a:rPr lang="de-DE" dirty="0" err="1"/>
              <a:t>element</a:t>
            </a:r>
            <a:r>
              <a:rPr lang="de-DE" dirty="0"/>
              <a:t>+: Ein oder mehrere Vorkommen</a:t>
            </a:r>
          </a:p>
          <a:p>
            <a:r>
              <a:rPr lang="de-DE" dirty="0" err="1"/>
              <a:t>element</a:t>
            </a:r>
            <a:r>
              <a:rPr lang="de-DE" dirty="0"/>
              <a:t>*: Null oder mehrere Vorkommen</a:t>
            </a:r>
          </a:p>
          <a:p>
            <a:r>
              <a:rPr lang="de-DE" dirty="0" err="1"/>
              <a:t>element</a:t>
            </a:r>
            <a:r>
              <a:rPr lang="de-DE" dirty="0"/>
              <a:t>?: Optional (null oder eins)</a:t>
            </a:r>
          </a:p>
          <a:p>
            <a:r>
              <a:rPr lang="de-DE" dirty="0"/>
              <a:t>(elem1|elem2): Alternative (entweder oder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787D404-9E49-B253-5541-5B599E36C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4748" y="5110102"/>
            <a:ext cx="3391373" cy="86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082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9C10E3-F564-F674-E4B7-6CF35D98C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575EB08A-4925-CF10-5EC5-06A1144CA26D}"/>
              </a:ext>
            </a:extLst>
          </p:cNvPr>
          <p:cNvSpPr txBox="1"/>
          <p:nvPr/>
        </p:nvSpPr>
        <p:spPr>
          <a:xfrm>
            <a:off x="1440997" y="1395124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2. Attribut-Deklarationen (</a:t>
            </a:r>
            <a:r>
              <a:rPr lang="de-DE" dirty="0">
                <a:latin typeface="Courier New" panose="02070309020205020404" pitchFamily="49" charset="0"/>
              </a:rPr>
              <a:t>&lt;!ATTLIST&gt;</a:t>
            </a:r>
            <a:r>
              <a:rPr lang="de-DE" dirty="0"/>
              <a:t>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EFCEABA-068E-7A0C-4233-E730F39FBD16}"/>
              </a:ext>
            </a:extLst>
          </p:cNvPr>
          <p:cNvSpPr txBox="1"/>
          <p:nvPr/>
        </p:nvSpPr>
        <p:spPr>
          <a:xfrm>
            <a:off x="730704" y="2459122"/>
            <a:ext cx="614770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Attributtypen: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CDATA</a:t>
            </a:r>
            <a:r>
              <a:rPr lang="de-DE" dirty="0"/>
              <a:t>: Beliebiger Tex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ID</a:t>
            </a:r>
            <a:r>
              <a:rPr lang="de-DE" dirty="0"/>
              <a:t>: Eindeutige Kenn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IDREF</a:t>
            </a:r>
            <a:r>
              <a:rPr lang="de-DE" dirty="0"/>
              <a:t>: Verweis auf eine I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(wert1|wert2)</a:t>
            </a:r>
            <a:r>
              <a:rPr lang="de-DE" dirty="0"/>
              <a:t>: Aufzählung erlaubter Werte</a:t>
            </a:r>
          </a:p>
          <a:p>
            <a:pPr>
              <a:buNone/>
            </a:pPr>
            <a:r>
              <a:rPr lang="de-DE" b="1" dirty="0"/>
              <a:t>Standardwerte: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#REQUIRED</a:t>
            </a:r>
            <a:r>
              <a:rPr lang="de-DE" dirty="0"/>
              <a:t>: Pflichtattribu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#IMPLIED</a:t>
            </a:r>
            <a:r>
              <a:rPr lang="de-DE" dirty="0"/>
              <a:t>: Option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"</a:t>
            </a:r>
            <a:r>
              <a:rPr lang="de-DE" dirty="0" err="1">
                <a:latin typeface="Courier New" panose="02070309020205020404" pitchFamily="49" charset="0"/>
              </a:rPr>
              <a:t>defaultwert</a:t>
            </a:r>
            <a:r>
              <a:rPr lang="de-DE" dirty="0">
                <a:latin typeface="Courier New" panose="02070309020205020404" pitchFamily="49" charset="0"/>
              </a:rPr>
              <a:t>"</a:t>
            </a:r>
            <a:r>
              <a:rPr lang="de-DE" dirty="0"/>
              <a:t>: Standardwer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latin typeface="Courier New" panose="02070309020205020404" pitchFamily="49" charset="0"/>
              </a:rPr>
              <a:t>#FIXED "wert"</a:t>
            </a:r>
            <a:r>
              <a:rPr lang="de-DE" dirty="0"/>
              <a:t>: Fester Wer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F59BA3C-6DB6-04BB-50DC-E95570851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3429000"/>
            <a:ext cx="3610479" cy="1047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8297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E49DC9-A500-D37F-D325-9D6B116FD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CAEC0E71-F3F1-1932-E6F4-40AFD527D819}"/>
              </a:ext>
            </a:extLst>
          </p:cNvPr>
          <p:cNvSpPr txBox="1"/>
          <p:nvPr/>
        </p:nvSpPr>
        <p:spPr>
          <a:xfrm>
            <a:off x="918483" y="807296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3. Entitäten (</a:t>
            </a:r>
            <a:r>
              <a:rPr lang="de-DE" dirty="0">
                <a:latin typeface="Courier New" panose="02070309020205020404" pitchFamily="49" charset="0"/>
              </a:rPr>
              <a:t>&lt;!ENTITY&gt;</a:t>
            </a:r>
            <a:r>
              <a:rPr lang="de-DE" dirty="0"/>
              <a:t>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9A45C3B-F890-21BF-34D1-0A250F36CB63}"/>
              </a:ext>
            </a:extLst>
          </p:cNvPr>
          <p:cNvSpPr txBox="1"/>
          <p:nvPr/>
        </p:nvSpPr>
        <p:spPr>
          <a:xfrm>
            <a:off x="779690" y="2516124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Ermöglichen Wiederverwendung von Texten mit </a:t>
            </a:r>
            <a:r>
              <a:rPr lang="de-DE" dirty="0">
                <a:latin typeface="Courier New" panose="02070309020205020404" pitchFamily="49" charset="0"/>
              </a:rPr>
              <a:t>&amp;</a:t>
            </a:r>
            <a:r>
              <a:rPr lang="de-DE" dirty="0" err="1">
                <a:latin typeface="Courier New" panose="02070309020205020404" pitchFamily="49" charset="0"/>
              </a:rPr>
              <a:t>name</a:t>
            </a:r>
            <a:r>
              <a:rPr lang="de-DE" dirty="0">
                <a:latin typeface="Courier New" panose="02070309020205020404" pitchFamily="49" charset="0"/>
              </a:rPr>
              <a:t>;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F290A09-07DF-4FD4-209C-24D05ECD18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6759" y="1436744"/>
            <a:ext cx="2438740" cy="819264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467ED8AC-60E4-D71B-69C3-960E4988CA90}"/>
              </a:ext>
            </a:extLst>
          </p:cNvPr>
          <p:cNvSpPr txBox="1"/>
          <p:nvPr/>
        </p:nvSpPr>
        <p:spPr>
          <a:xfrm>
            <a:off x="918483" y="3787879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4. Notation (</a:t>
            </a:r>
            <a:r>
              <a:rPr lang="de-DE" dirty="0">
                <a:latin typeface="Courier New" panose="02070309020205020404" pitchFamily="49" charset="0"/>
              </a:rPr>
              <a:t>&lt;!NOTATION&gt;</a:t>
            </a:r>
            <a:r>
              <a:rPr lang="de-DE" dirty="0"/>
              <a:t>)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EE599B6-94A9-3612-E854-3F12438DBE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05" y="4173540"/>
            <a:ext cx="4963218" cy="819264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CF5A75C-A65A-86C1-84D2-AC8BA4987C3D}"/>
              </a:ext>
            </a:extLst>
          </p:cNvPr>
          <p:cNvSpPr txBox="1"/>
          <p:nvPr/>
        </p:nvSpPr>
        <p:spPr>
          <a:xfrm>
            <a:off x="1006759" y="5421256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Definiert externe Datenformate (z.B. Bilder)</a:t>
            </a:r>
          </a:p>
        </p:txBody>
      </p:sp>
    </p:spTree>
    <p:extLst>
      <p:ext uri="{BB962C8B-B14F-4D97-AF65-F5344CB8AC3E}">
        <p14:creationId xmlns:p14="http://schemas.microsoft.com/office/powerpoint/2010/main" val="21369428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134CE7-9392-AB4E-7D6B-D71AD2444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3524F260-9645-29F5-B6A7-513B1BFB3EF5}"/>
              </a:ext>
            </a:extLst>
          </p:cNvPr>
          <p:cNvSpPr txBox="1"/>
          <p:nvPr/>
        </p:nvSpPr>
        <p:spPr>
          <a:xfrm>
            <a:off x="2036990" y="1447044"/>
            <a:ext cx="6147706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Vor- und Nachteile von DTDs</a:t>
            </a:r>
          </a:p>
          <a:p>
            <a:pPr>
              <a:buNone/>
            </a:pPr>
            <a:endParaRPr lang="de-DE" b="1" dirty="0"/>
          </a:p>
          <a:p>
            <a:pPr>
              <a:buNone/>
            </a:pPr>
            <a:r>
              <a:rPr lang="de-DE" b="1" dirty="0"/>
              <a:t>Vorteile:</a:t>
            </a:r>
          </a:p>
          <a:p>
            <a:pPr>
              <a:buNone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Einfache, kompakte Syntax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Unterstützung für Entität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eit verbreitet und gut unterstütz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Direkt in XML-Dokument einbettbar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None/>
            </a:pPr>
            <a:r>
              <a:rPr lang="de-DE" b="1" dirty="0"/>
              <a:t>Nachteile: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Keine Datentypen (nur Tex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Keine Namespa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Begrenzte Ausdruckskraf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Keine regulären Ausdrücke für Validierung</a:t>
            </a:r>
          </a:p>
        </p:txBody>
      </p:sp>
    </p:spTree>
    <p:extLst>
      <p:ext uri="{BB962C8B-B14F-4D97-AF65-F5344CB8AC3E}">
        <p14:creationId xmlns:p14="http://schemas.microsoft.com/office/powerpoint/2010/main" val="35454719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9EED17-BDE2-DD47-160F-841E2E75D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B35515EB-E6E7-6BB5-5F15-37C3725290F9}"/>
              </a:ext>
            </a:extLst>
          </p:cNvPr>
          <p:cNvSpPr txBox="1"/>
          <p:nvPr/>
        </p:nvSpPr>
        <p:spPr>
          <a:xfrm>
            <a:off x="2045152" y="1397764"/>
            <a:ext cx="8584747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Was ist XML Schema und wofür braucht man es?</a:t>
            </a:r>
          </a:p>
          <a:p>
            <a:pPr>
              <a:buNone/>
            </a:pPr>
            <a:endParaRPr lang="de-DE" b="1" dirty="0"/>
          </a:p>
          <a:p>
            <a:pPr>
              <a:buNone/>
            </a:pPr>
            <a:r>
              <a:rPr lang="de-DE" dirty="0"/>
              <a:t>XML Schema (XSD = XML Schema Definition) ist der moderne Nachfolger von DTD zur Definition von XML-Strukturen. Es bietet:</a:t>
            </a:r>
          </a:p>
          <a:p>
            <a:pPr>
              <a:buNone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Starke Typisierung</a:t>
            </a:r>
            <a:r>
              <a:rPr lang="de-DE" dirty="0"/>
              <a:t>: Echte Datentypen (Zahlen, Datum, etc.)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Namespace-Unterstützung</a:t>
            </a:r>
            <a:r>
              <a:rPr lang="de-DE" dirty="0"/>
              <a:t>: Vermeidung von Namenskonflikt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Komplexe Validierung</a:t>
            </a:r>
            <a:r>
              <a:rPr lang="de-DE" dirty="0"/>
              <a:t>: Reguläre Ausdrücke, Bereiche, Muster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Erweiterbarkeit</a:t>
            </a:r>
            <a:r>
              <a:rPr lang="de-DE" dirty="0"/>
              <a:t>: Vererbung und Komposition von Typ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Selbst XML</a:t>
            </a:r>
            <a:r>
              <a:rPr lang="de-DE" dirty="0"/>
              <a:t>: Kann mit XML-Tools bearbeitet werden</a:t>
            </a:r>
          </a:p>
        </p:txBody>
      </p:sp>
    </p:spTree>
    <p:extLst>
      <p:ext uri="{BB962C8B-B14F-4D97-AF65-F5344CB8AC3E}">
        <p14:creationId xmlns:p14="http://schemas.microsoft.com/office/powerpoint/2010/main" val="1688150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5E047-290C-ACA6-29C0-229431664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F4E626E8-CC68-EA13-8641-264473676151}"/>
              </a:ext>
            </a:extLst>
          </p:cNvPr>
          <p:cNvSpPr txBox="1"/>
          <p:nvPr/>
        </p:nvSpPr>
        <p:spPr>
          <a:xfrm>
            <a:off x="1424668" y="1640053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1. </a:t>
            </a:r>
            <a:r>
              <a:rPr lang="de-DE" b="1" dirty="0"/>
              <a:t>Schema-Deklaration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9510D64-5573-CE43-54E1-87B89D4486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6951" y="2353942"/>
            <a:ext cx="6077798" cy="133368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C0ABE24-6CA0-DDD3-0D63-6A3AA469D1A6}"/>
              </a:ext>
            </a:extLst>
          </p:cNvPr>
          <p:cNvSpPr txBox="1"/>
          <p:nvPr/>
        </p:nvSpPr>
        <p:spPr>
          <a:xfrm>
            <a:off x="1787042" y="4098089"/>
            <a:ext cx="8491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targetNamespace</a:t>
            </a:r>
            <a:r>
              <a:rPr lang="de-DE" dirty="0"/>
              <a:t>: Eindeutiger Namespace für das Schema </a:t>
            </a:r>
            <a:r>
              <a:rPr lang="de-DE" dirty="0" err="1"/>
              <a:t>elementFormDefault</a:t>
            </a:r>
            <a:r>
              <a:rPr lang="de-DE" dirty="0"/>
              <a:t>="</a:t>
            </a:r>
            <a:r>
              <a:rPr lang="de-DE" dirty="0" err="1"/>
              <a:t>qualified</a:t>
            </a:r>
            <a:r>
              <a:rPr lang="de-DE" dirty="0"/>
              <a:t>": Alle Elemente müssen qualifiziert sein</a:t>
            </a:r>
          </a:p>
        </p:txBody>
      </p:sp>
    </p:spTree>
    <p:extLst>
      <p:ext uri="{BB962C8B-B14F-4D97-AF65-F5344CB8AC3E}">
        <p14:creationId xmlns:p14="http://schemas.microsoft.com/office/powerpoint/2010/main" val="29836045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A0A17E-5FCF-29F3-B75B-E09B2714F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9A6DB1-2945-218C-63A9-30DF7AD83365}"/>
              </a:ext>
            </a:extLst>
          </p:cNvPr>
          <p:cNvSpPr txBox="1"/>
          <p:nvPr/>
        </p:nvSpPr>
        <p:spPr>
          <a:xfrm>
            <a:off x="910318" y="906734"/>
            <a:ext cx="614770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2. Simple </a:t>
            </a:r>
            <a:r>
              <a:rPr lang="de-DE" b="1" dirty="0" err="1"/>
              <a:t>Types</a:t>
            </a:r>
            <a:r>
              <a:rPr lang="de-DE" b="1" dirty="0"/>
              <a:t> (</a:t>
            </a:r>
            <a:r>
              <a:rPr lang="de-DE" b="1" dirty="0" err="1"/>
              <a:t>xs:simpleType</a:t>
            </a:r>
            <a:r>
              <a:rPr lang="de-DE" b="1" dirty="0"/>
              <a:t>)</a:t>
            </a:r>
          </a:p>
          <a:p>
            <a:pPr>
              <a:buNone/>
            </a:pPr>
            <a:r>
              <a:rPr lang="de-DE" dirty="0"/>
              <a:t>Für einfache Datentypen mit Einschränkungen:</a:t>
            </a:r>
          </a:p>
          <a:p>
            <a:pPr>
              <a:buNone/>
            </a:pPr>
            <a:r>
              <a:rPr lang="de-DE" b="1" dirty="0"/>
              <a:t>Eingebaute Typen: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string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int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decimal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boolean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date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dateTime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gYear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anyURI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ID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IDRE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ABE18CB-11B5-1897-F3AB-7958E5EA71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169" y="4196941"/>
            <a:ext cx="5096586" cy="2181529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CC65E6B-A1F5-6C79-2DA1-298EF25BF677}"/>
              </a:ext>
            </a:extLst>
          </p:cNvPr>
          <p:cNvSpPr txBox="1"/>
          <p:nvPr/>
        </p:nvSpPr>
        <p:spPr>
          <a:xfrm>
            <a:off x="44905" y="3529606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Restrictions</a:t>
            </a:r>
            <a:r>
              <a:rPr lang="de-DE" dirty="0"/>
              <a:t> (Einschränkungen)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51D4E74-4052-FA6F-B40A-13274488A209}"/>
              </a:ext>
            </a:extLst>
          </p:cNvPr>
          <p:cNvSpPr txBox="1"/>
          <p:nvPr/>
        </p:nvSpPr>
        <p:spPr>
          <a:xfrm>
            <a:off x="6192611" y="2442615"/>
            <a:ext cx="614770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Facetten für Einschränkungen: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pattern</a:t>
            </a:r>
            <a:r>
              <a:rPr lang="de-DE" dirty="0"/>
              <a:t>: Regulärer Ausdruc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length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minLength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maxLength</a:t>
            </a:r>
            <a:r>
              <a:rPr lang="de-DE" dirty="0"/>
              <a:t>: Län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minInclusive</a:t>
            </a:r>
            <a:r>
              <a:rPr lang="de-DE" dirty="0"/>
              <a:t>, </a:t>
            </a:r>
            <a:r>
              <a:rPr lang="de-DE" dirty="0" err="1">
                <a:latin typeface="Courier New" panose="02070309020205020404" pitchFamily="49" charset="0"/>
              </a:rPr>
              <a:t>xs:maxInclusive</a:t>
            </a:r>
            <a:r>
              <a:rPr lang="de-DE" dirty="0"/>
              <a:t>: Wertebereich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enumeration</a:t>
            </a:r>
            <a:r>
              <a:rPr lang="de-DE" dirty="0"/>
              <a:t>: Aufzählung erlaubter Wer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xs:fractionDigits</a:t>
            </a:r>
            <a:r>
              <a:rPr lang="de-DE" dirty="0"/>
              <a:t>: Dezimalstellen</a:t>
            </a:r>
          </a:p>
        </p:txBody>
      </p:sp>
    </p:spTree>
    <p:extLst>
      <p:ext uri="{BB962C8B-B14F-4D97-AF65-F5344CB8AC3E}">
        <p14:creationId xmlns:p14="http://schemas.microsoft.com/office/powerpoint/2010/main" val="22103273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C0C77-E0E6-C274-1FCF-15641884A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DE10DD37-7A2A-9EFA-200A-CD63E3C8BC46}"/>
              </a:ext>
            </a:extLst>
          </p:cNvPr>
          <p:cNvSpPr txBox="1"/>
          <p:nvPr/>
        </p:nvSpPr>
        <p:spPr>
          <a:xfrm>
            <a:off x="910318" y="986910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3. </a:t>
            </a:r>
            <a:r>
              <a:rPr lang="de-DE" b="1" dirty="0" err="1"/>
              <a:t>Complex</a:t>
            </a:r>
            <a:r>
              <a:rPr lang="de-DE" b="1" dirty="0"/>
              <a:t> </a:t>
            </a:r>
            <a:r>
              <a:rPr lang="de-DE" b="1" dirty="0" err="1"/>
              <a:t>Types</a:t>
            </a:r>
            <a:r>
              <a:rPr lang="de-DE" b="1" dirty="0"/>
              <a:t> (</a:t>
            </a:r>
            <a:r>
              <a:rPr lang="de-DE" b="1" dirty="0" err="1"/>
              <a:t>xs:complexType</a:t>
            </a:r>
            <a:r>
              <a:rPr lang="de-DE" b="1" dirty="0"/>
              <a:t>)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4A1BDB7-EAE1-AB7F-76FC-D3ADCF46F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487" y="2013711"/>
            <a:ext cx="7116168" cy="209579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E5A5C77-E4BD-7E9C-9BFF-00036092D255}"/>
              </a:ext>
            </a:extLst>
          </p:cNvPr>
          <p:cNvSpPr txBox="1"/>
          <p:nvPr/>
        </p:nvSpPr>
        <p:spPr>
          <a:xfrm>
            <a:off x="698047" y="1603557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 err="1"/>
              <a:t>Sequence</a:t>
            </a:r>
            <a:r>
              <a:rPr lang="de-DE" dirty="0"/>
              <a:t> (Reihenfolge)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534CCF6-D3BA-4F21-DDF4-E1F2453A6389}"/>
              </a:ext>
            </a:extLst>
          </p:cNvPr>
          <p:cNvSpPr txBox="1"/>
          <p:nvPr/>
        </p:nvSpPr>
        <p:spPr>
          <a:xfrm>
            <a:off x="578487" y="4268953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hoice (Alternative):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9E65F22-1123-F938-2D5D-B4C1AB7284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487" y="4797735"/>
            <a:ext cx="5477639" cy="1486107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A1E0292D-FC82-17EB-FA41-88DE89FC55C7}"/>
              </a:ext>
            </a:extLst>
          </p:cNvPr>
          <p:cNvSpPr txBox="1"/>
          <p:nvPr/>
        </p:nvSpPr>
        <p:spPr>
          <a:xfrm>
            <a:off x="7058024" y="4268953"/>
            <a:ext cx="29840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All (beliebige Reihenfolge):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55910D1-3788-1D22-3AD9-013DBD0857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3996" y="4797735"/>
            <a:ext cx="4763165" cy="155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44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D6682-4306-F40A-D94D-C3304A132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FEE30195-097A-6633-AEAD-0CA09A6B4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3751720"/>
              </p:ext>
            </p:extLst>
          </p:nvPr>
        </p:nvGraphicFramePr>
        <p:xfrm>
          <a:off x="1257588" y="1783534"/>
          <a:ext cx="7390825" cy="4435520"/>
        </p:xfrm>
        <a:graphic>
          <a:graphicData uri="http://schemas.openxmlformats.org/drawingml/2006/table">
            <a:tbl>
              <a:tblPr/>
              <a:tblGrid>
                <a:gridCol w="7390825">
                  <a:extLst>
                    <a:ext uri="{9D8B030D-6E8A-4147-A177-3AD203B41FA5}">
                      <a16:colId xmlns:a16="http://schemas.microsoft.com/office/drawing/2014/main" val="3069221100"/>
                    </a:ext>
                  </a:extLst>
                </a:gridCol>
              </a:tblGrid>
              <a:tr h="271959">
                <a:tc>
                  <a:txBody>
                    <a:bodyPr/>
                    <a:lstStyle/>
                    <a:p>
                      <a:pPr algn="ctr"/>
                      <a:r>
                        <a:rPr lang="de-DE" sz="1300">
                          <a:effectLst/>
                        </a:rPr>
                        <a:t>Strukturdiagramme der UML</a:t>
                      </a: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726924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  <a:hlinkClick r:id="rId2" tooltip="Klassendiagramm"/>
                        </a:rPr>
                        <a:t>Klassendiagramm</a:t>
                      </a:r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</a:rPr>
                        <a:t> </a:t>
                      </a:r>
                      <a:endParaRPr lang="de-DE" sz="1300" dirty="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463693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3" tooltip="Komponentendiagramm"/>
                        </a:rPr>
                        <a:t>Komponenten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172424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4" tooltip="Kompositionsstrukturdiagramm"/>
                        </a:rPr>
                        <a:t>Kompositionsstruktur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174299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5" tooltip="Objektdiagramm"/>
                        </a:rPr>
                        <a:t>Objekt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449497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6" tooltip="Paketdiagramm"/>
                        </a:rPr>
                        <a:t>Paket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655914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7" tooltip="Profildiagramm"/>
                        </a:rPr>
                        <a:t>Profil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830465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8" tooltip="Verteilungsdiagramm"/>
                        </a:rPr>
                        <a:t>Verteilungs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695807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pPr algn="ctr"/>
                      <a:r>
                        <a:rPr lang="de-DE" sz="1300">
                          <a:effectLst/>
                        </a:rPr>
                        <a:t>Verhaltensdiagramme der UML</a:t>
                      </a: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2222636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  <a:hlinkClick r:id="rId9" tooltip="Aktivitätsdiagramm"/>
                        </a:rPr>
                        <a:t>Aktivitätsdiagramm</a:t>
                      </a:r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</a:rPr>
                        <a:t> </a:t>
                      </a:r>
                      <a:r>
                        <a:rPr lang="de-DE" sz="1300" u="none" strike="noStrike" dirty="0">
                          <a:solidFill>
                            <a:schemeClr val="tx1"/>
                          </a:solidFill>
                          <a:effectLst/>
                        </a:rPr>
                        <a:t>oft</a:t>
                      </a:r>
                      <a:endParaRPr lang="de-DE" sz="13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909022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  <a:hlinkClick r:id="rId10" tooltip="Anwendungsfalldiagramm"/>
                        </a:rPr>
                        <a:t>Anwendungsfalldiagramm</a:t>
                      </a:r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</a:rPr>
                        <a:t> </a:t>
                      </a:r>
                      <a:r>
                        <a:rPr lang="de-DE" sz="1300" u="none" strike="noStrike" dirty="0">
                          <a:solidFill>
                            <a:schemeClr val="tx1"/>
                          </a:solidFill>
                          <a:effectLst/>
                        </a:rPr>
                        <a:t>oft </a:t>
                      </a:r>
                      <a:endParaRPr lang="de-DE" sz="13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101555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11" tooltip="Interaktionsübersichtsdiagramm"/>
                        </a:rPr>
                        <a:t>Interaktionsübersichts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142027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12" tooltip="Kommunikationsdiagramm (UML)"/>
                        </a:rPr>
                        <a:t>Kommunikations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215305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b="0" dirty="0">
                          <a:effectLst/>
                          <a:hlinkClick r:id="rId13"/>
                        </a:rPr>
                        <a:t>Sequenzdiagramm</a:t>
                      </a:r>
                      <a:r>
                        <a:rPr lang="de-DE" sz="1300" b="0" dirty="0">
                          <a:effectLst/>
                        </a:rPr>
                        <a:t> </a:t>
                      </a:r>
                      <a:r>
                        <a:rPr lang="de-DE" sz="1300" b="0" dirty="0">
                          <a:solidFill>
                            <a:schemeClr val="tx1"/>
                          </a:solidFill>
                          <a:effectLst/>
                        </a:rPr>
                        <a:t>in letzter Zeit häufiger</a:t>
                      </a:r>
                      <a:endParaRPr lang="de-DE" sz="1300" b="0" dirty="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361282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>
                          <a:solidFill>
                            <a:srgbClr val="0645AD"/>
                          </a:solidFill>
                          <a:effectLst/>
                          <a:hlinkClick r:id="rId14" tooltip="Zeitverlaufsdiagramm"/>
                        </a:rPr>
                        <a:t>Zeitverlaufsdiagramm</a:t>
                      </a:r>
                      <a:endParaRPr lang="de-DE" sz="1300"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797876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  <a:hlinkClick r:id="rId15" tooltip="Zustandsdiagramm (UML)"/>
                        </a:rPr>
                        <a:t>Zustandsdiagramm</a:t>
                      </a:r>
                      <a:r>
                        <a:rPr lang="de-DE" sz="1300" u="none" strike="noStrike" dirty="0">
                          <a:solidFill>
                            <a:srgbClr val="0645AD"/>
                          </a:solidFill>
                          <a:effectLst/>
                        </a:rPr>
                        <a:t> </a:t>
                      </a:r>
                      <a:r>
                        <a:rPr lang="de-DE" sz="1300" u="none" strike="noStrike" dirty="0">
                          <a:solidFill>
                            <a:schemeClr val="tx1"/>
                          </a:solidFill>
                          <a:effectLst/>
                        </a:rPr>
                        <a:t>manchmal</a:t>
                      </a:r>
                      <a:endParaRPr lang="de-DE" sz="13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79099" marR="79099" marT="39550" marB="39550" anchor="ctr">
                    <a:lnL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2A9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375487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8899832E-FE95-B09E-7B49-D2C6A80B068B}"/>
              </a:ext>
            </a:extLst>
          </p:cNvPr>
          <p:cNvSpPr txBox="1"/>
          <p:nvPr/>
        </p:nvSpPr>
        <p:spPr>
          <a:xfrm>
            <a:off x="2072680" y="548680"/>
            <a:ext cx="3024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Unified Modeling Languag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A98EE0FE-AC26-B9EC-1736-ECCDA114E91F}"/>
                  </a:ext>
                </a:extLst>
              </p14:cNvPr>
              <p14:cNvContentPartPr/>
              <p14:nvPr/>
            </p14:nvContentPartPr>
            <p14:xfrm>
              <a:off x="1448654" y="2525785"/>
              <a:ext cx="1302840" cy="360"/>
            </p14:xfrm>
          </p:contentPart>
        </mc:Choice>
        <mc:Fallback xmlns=""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A98EE0FE-AC26-B9EC-1736-ECCDA114E91F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430654" y="2507785"/>
                <a:ext cx="133848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946CE6CC-4B01-4229-1A27-15BC33EC0C2A}"/>
                  </a:ext>
                </a:extLst>
              </p14:cNvPr>
              <p14:cNvContentPartPr/>
              <p14:nvPr/>
            </p14:nvContentPartPr>
            <p14:xfrm>
              <a:off x="1412294" y="2760505"/>
              <a:ext cx="1864080" cy="19440"/>
            </p14:xfrm>
          </p:contentPart>
        </mc:Choice>
        <mc:Fallback xmlns=""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946CE6CC-4B01-4229-1A27-15BC33EC0C2A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394294" y="2742505"/>
                <a:ext cx="1899720" cy="5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C3F201D7-56DF-FA83-4623-B73EC9C428D2}"/>
                  </a:ext>
                </a:extLst>
              </p14:cNvPr>
              <p14:cNvContentPartPr/>
              <p14:nvPr/>
            </p14:nvContentPartPr>
            <p14:xfrm>
              <a:off x="1439294" y="3049225"/>
              <a:ext cx="1140120" cy="1152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C3F201D7-56DF-FA83-4623-B73EC9C428D2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1421294" y="3031225"/>
                <a:ext cx="1175760" cy="4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F19B08C9-5676-F895-38C7-F55FABB06ADD}"/>
                  </a:ext>
                </a:extLst>
              </p14:cNvPr>
              <p14:cNvContentPartPr/>
              <p14:nvPr/>
            </p14:nvContentPartPr>
            <p14:xfrm>
              <a:off x="1439294" y="3313465"/>
              <a:ext cx="1004400" cy="360"/>
            </p14:xfrm>
          </p:contentPart>
        </mc:Choice>
        <mc:Fallback xmlns=""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F19B08C9-5676-F895-38C7-F55FABB06ADD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1421294" y="3295465"/>
                <a:ext cx="1040040" cy="3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4">
            <p14:nvContentPartPr>
              <p14:cNvPr id="8" name="Freihand 7">
                <a:extLst>
                  <a:ext uri="{FF2B5EF4-FFF2-40B4-BE49-F238E27FC236}">
                    <a16:creationId xmlns:a16="http://schemas.microsoft.com/office/drawing/2014/main" id="{9B2E773A-0C4F-25E3-AEEE-B5BC17824E2A}"/>
                  </a:ext>
                </a:extLst>
              </p14:cNvPr>
              <p14:cNvContentPartPr/>
              <p14:nvPr/>
            </p14:nvContentPartPr>
            <p14:xfrm>
              <a:off x="1430294" y="3665905"/>
              <a:ext cx="859320" cy="10800"/>
            </p14:xfrm>
          </p:contentPart>
        </mc:Choice>
        <mc:Fallback xmlns="">
          <p:pic>
            <p:nvPicPr>
              <p:cNvPr id="8" name="Freihand 7">
                <a:extLst>
                  <a:ext uri="{FF2B5EF4-FFF2-40B4-BE49-F238E27FC236}">
                    <a16:creationId xmlns:a16="http://schemas.microsoft.com/office/drawing/2014/main" id="{9B2E773A-0C4F-25E3-AEEE-B5BC17824E2A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1412654" y="3648265"/>
                <a:ext cx="894960" cy="4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6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2F9E778D-37CE-A2DF-5175-18F88DE2EB53}"/>
                  </a:ext>
                </a:extLst>
              </p14:cNvPr>
              <p14:cNvContentPartPr/>
              <p14:nvPr/>
            </p14:nvContentPartPr>
            <p14:xfrm>
              <a:off x="1357934" y="3856345"/>
              <a:ext cx="1341000" cy="44280"/>
            </p14:xfrm>
          </p:contentPart>
        </mc:Choice>
        <mc:Fallback xmlns=""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2F9E778D-37CE-A2DF-5175-18F88DE2EB53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1339934" y="3838705"/>
                <a:ext cx="1376640" cy="79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6A4E1452-2D07-296C-52ED-9F9CAAD5B40E}"/>
                  </a:ext>
                </a:extLst>
              </p14:cNvPr>
              <p14:cNvContentPartPr/>
              <p14:nvPr/>
            </p14:nvContentPartPr>
            <p14:xfrm>
              <a:off x="1402934" y="4958665"/>
              <a:ext cx="2148120" cy="5724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6A4E1452-2D07-296C-52ED-9F9CAAD5B40E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1385294" y="4940665"/>
                <a:ext cx="2183760" cy="92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71C9F93C-6C9A-87C6-98C4-45C6D88F9148}"/>
                  </a:ext>
                </a:extLst>
              </p14:cNvPr>
              <p14:cNvContentPartPr/>
              <p14:nvPr/>
            </p14:nvContentPartPr>
            <p14:xfrm>
              <a:off x="1357934" y="5259265"/>
              <a:ext cx="1737720" cy="3708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71C9F93C-6C9A-87C6-98C4-45C6D88F9148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1339934" y="5241625"/>
                <a:ext cx="1773360" cy="7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F220194A-897F-D9A4-5784-874B995CF48D}"/>
                  </a:ext>
                </a:extLst>
              </p14:cNvPr>
              <p14:cNvContentPartPr/>
              <p14:nvPr/>
            </p14:nvContentPartPr>
            <p14:xfrm>
              <a:off x="1393934" y="5811865"/>
              <a:ext cx="1375560" cy="19440"/>
            </p14:xfrm>
          </p:contentPart>
        </mc:Choice>
        <mc:Fallback xmlns=""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F220194A-897F-D9A4-5784-874B995CF48D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1376294" y="5794225"/>
                <a:ext cx="1411200" cy="55080"/>
              </a:xfrm>
              <a:prstGeom prst="rect">
                <a:avLst/>
              </a:prstGeom>
            </p:spPr>
          </p:pic>
        </mc:Fallback>
      </mc:AlternateContent>
      <p:sp>
        <p:nvSpPr>
          <p:cNvPr id="13" name="Textfeld 12">
            <a:extLst>
              <a:ext uri="{FF2B5EF4-FFF2-40B4-BE49-F238E27FC236}">
                <a16:creationId xmlns:a16="http://schemas.microsoft.com/office/drawing/2014/main" id="{B5C66986-493A-1BB4-DCB6-C9978F59CEE8}"/>
              </a:ext>
            </a:extLst>
          </p:cNvPr>
          <p:cNvSpPr txBox="1"/>
          <p:nvPr/>
        </p:nvSpPr>
        <p:spPr>
          <a:xfrm>
            <a:off x="3630355" y="2037030"/>
            <a:ext cx="1466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180980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179C9D-E066-E597-4CDF-A358ED50C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5E3F9342-EC3A-CC49-4575-A15004F246AD}"/>
              </a:ext>
            </a:extLst>
          </p:cNvPr>
          <p:cNvSpPr txBox="1"/>
          <p:nvPr/>
        </p:nvSpPr>
        <p:spPr>
          <a:xfrm>
            <a:off x="796018" y="1387840"/>
            <a:ext cx="614770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de-DE" b="1" dirty="0"/>
              <a:t>4. Kardinalität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minOccurs</a:t>
            </a:r>
            <a:r>
              <a:rPr lang="de-DE" dirty="0">
                <a:latin typeface="Courier New" panose="02070309020205020404" pitchFamily="49" charset="0"/>
              </a:rPr>
              <a:t>="0"</a:t>
            </a:r>
            <a:r>
              <a:rPr lang="de-DE" dirty="0"/>
              <a:t>: Option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maxOccurs</a:t>
            </a:r>
            <a:r>
              <a:rPr lang="de-DE" dirty="0">
                <a:latin typeface="Courier New" panose="02070309020205020404" pitchFamily="49" charset="0"/>
              </a:rPr>
              <a:t>="</a:t>
            </a:r>
            <a:r>
              <a:rPr lang="de-DE" dirty="0" err="1">
                <a:latin typeface="Courier New" panose="02070309020205020404" pitchFamily="49" charset="0"/>
              </a:rPr>
              <a:t>unbounded</a:t>
            </a:r>
            <a:r>
              <a:rPr lang="de-DE" dirty="0">
                <a:latin typeface="Courier New" panose="02070309020205020404" pitchFamily="49" charset="0"/>
              </a:rPr>
              <a:t>"</a:t>
            </a:r>
            <a:r>
              <a:rPr lang="de-DE" dirty="0"/>
              <a:t>: Beliebig vie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>
                <a:latin typeface="Courier New" panose="02070309020205020404" pitchFamily="49" charset="0"/>
              </a:rPr>
              <a:t>minOccurs</a:t>
            </a:r>
            <a:r>
              <a:rPr lang="de-DE" dirty="0">
                <a:latin typeface="Courier New" panose="02070309020205020404" pitchFamily="49" charset="0"/>
              </a:rPr>
              <a:t>="1" </a:t>
            </a:r>
            <a:r>
              <a:rPr lang="de-DE" dirty="0" err="1">
                <a:latin typeface="Courier New" panose="02070309020205020404" pitchFamily="49" charset="0"/>
              </a:rPr>
              <a:t>maxOccurs</a:t>
            </a:r>
            <a:r>
              <a:rPr lang="de-DE" dirty="0">
                <a:latin typeface="Courier New" panose="02070309020205020404" pitchFamily="49" charset="0"/>
              </a:rPr>
              <a:t>="5"</a:t>
            </a:r>
            <a:r>
              <a:rPr lang="de-DE" dirty="0"/>
              <a:t>: Zwischen 1 und 5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337F356-0957-EA05-2EA2-FA132D47CB3E}"/>
              </a:ext>
            </a:extLst>
          </p:cNvPr>
          <p:cNvSpPr txBox="1"/>
          <p:nvPr/>
        </p:nvSpPr>
        <p:spPr>
          <a:xfrm>
            <a:off x="796018" y="3059668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5. </a:t>
            </a:r>
            <a:r>
              <a:rPr lang="de-DE" b="1" dirty="0"/>
              <a:t>Attribut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DCA6570-0EFC-2A7F-8CA5-99D7F46DFE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53" y="3477986"/>
            <a:ext cx="7001852" cy="111458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1EC13EC-03EC-671C-A25F-9CB65A9FFA8D}"/>
              </a:ext>
            </a:extLst>
          </p:cNvPr>
          <p:cNvSpPr txBox="1"/>
          <p:nvPr/>
        </p:nvSpPr>
        <p:spPr>
          <a:xfrm>
            <a:off x="796018" y="4882219"/>
            <a:ext cx="614770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b="1" dirty="0"/>
              <a:t>Use-</a:t>
            </a:r>
            <a:r>
              <a:rPr lang="en-US" b="1" dirty="0" err="1"/>
              <a:t>Werte</a:t>
            </a:r>
            <a:r>
              <a:rPr lang="en-US" b="1" dirty="0"/>
              <a:t>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ourier New" panose="02070309020205020404" pitchFamily="49" charset="0"/>
              </a:rPr>
              <a:t>required</a:t>
            </a:r>
            <a:r>
              <a:rPr lang="en-US" dirty="0"/>
              <a:t>: </a:t>
            </a:r>
            <a:r>
              <a:rPr lang="en-US" dirty="0" err="1"/>
              <a:t>Pflichtattribut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ourier New" panose="02070309020205020404" pitchFamily="49" charset="0"/>
              </a:rPr>
              <a:t>optional</a:t>
            </a:r>
            <a:r>
              <a:rPr lang="en-US" dirty="0"/>
              <a:t>: Optional (Standard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latin typeface="Courier New" panose="02070309020205020404" pitchFamily="49" charset="0"/>
              </a:rPr>
              <a:t>prohibited</a:t>
            </a:r>
            <a:r>
              <a:rPr lang="en-US" dirty="0"/>
              <a:t>: Verboten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F5F78D38-0FD3-B746-F658-55BCBDEB08FA}"/>
                  </a:ext>
                </a:extLst>
              </p14:cNvPr>
              <p14:cNvContentPartPr/>
              <p14:nvPr/>
            </p14:nvContentPartPr>
            <p14:xfrm>
              <a:off x="4575163" y="4384209"/>
              <a:ext cx="243360" cy="42120"/>
            </p14:xfrm>
          </p:contentPart>
        </mc:Choice>
        <mc:Fallback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F5F78D38-0FD3-B746-F658-55BCBDEB08F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521163" y="4276209"/>
                <a:ext cx="351000" cy="257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56F0A2B6-5AA6-6803-3F22-ACF08FD4EB16}"/>
                  </a:ext>
                </a:extLst>
              </p14:cNvPr>
              <p14:cNvContentPartPr/>
              <p14:nvPr/>
            </p14:nvContentPartPr>
            <p14:xfrm>
              <a:off x="971203" y="5085489"/>
              <a:ext cx="367560" cy="58320"/>
            </p14:xfrm>
          </p:contentPart>
        </mc:Choice>
        <mc:Fallback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56F0A2B6-5AA6-6803-3F22-ACF08FD4EB1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17563" y="4977489"/>
                <a:ext cx="475200" cy="2739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421356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68045-BD36-D501-087A-61B3507593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26DD4305-8862-4DE2-5F50-5E3022DBA59F}"/>
              </a:ext>
            </a:extLst>
          </p:cNvPr>
          <p:cNvSpPr txBox="1"/>
          <p:nvPr/>
        </p:nvSpPr>
        <p:spPr>
          <a:xfrm>
            <a:off x="159203" y="1256331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6. </a:t>
            </a:r>
            <a:r>
              <a:rPr lang="de-DE" b="1" dirty="0"/>
              <a:t>Vererbung und Erweiterung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9072E7-3C10-0958-598B-9139AF7363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12" y="1825877"/>
            <a:ext cx="6001588" cy="2896004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7A7A5ED-522C-E4C6-1E8C-EADA236DD498}"/>
              </a:ext>
            </a:extLst>
          </p:cNvPr>
          <p:cNvSpPr txBox="1"/>
          <p:nvPr/>
        </p:nvSpPr>
        <p:spPr>
          <a:xfrm>
            <a:off x="7462157" y="684831"/>
            <a:ext cx="34085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7. </a:t>
            </a:r>
            <a:r>
              <a:rPr lang="de-DE" b="1" dirty="0"/>
              <a:t>Eindeutigkeitsbedingungen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05E5F02-AA5A-0082-B71D-54135D3A9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5636" y="1153768"/>
            <a:ext cx="3496163" cy="167663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585EA98-807A-630A-9F2C-A9A69118B3DE}"/>
              </a:ext>
            </a:extLst>
          </p:cNvPr>
          <p:cNvSpPr txBox="1"/>
          <p:nvPr/>
        </p:nvSpPr>
        <p:spPr>
          <a:xfrm>
            <a:off x="6106886" y="3089213"/>
            <a:ext cx="47638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8. </a:t>
            </a:r>
            <a:r>
              <a:rPr lang="de-DE" b="1" dirty="0"/>
              <a:t>Schlüssel und Referenzen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8BBD9D4-3C93-1E47-08AD-09F19C9614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6909" y="3474093"/>
            <a:ext cx="4906060" cy="289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95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304C11-1C61-D51C-AB43-4D4401C9C5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F2F54D91-3BC4-2259-7C55-630FFE81DDFB}"/>
              </a:ext>
            </a:extLst>
          </p:cNvPr>
          <p:cNvSpPr txBox="1"/>
          <p:nvPr/>
        </p:nvSpPr>
        <p:spPr>
          <a:xfrm>
            <a:off x="1334861" y="1199180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orteile von XML Schema gegenüber DTD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7302230F-AFC6-8173-5774-A3577A45BD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697002"/>
              </p:ext>
            </p:extLst>
          </p:nvPr>
        </p:nvGraphicFramePr>
        <p:xfrm>
          <a:off x="838200" y="1876947"/>
          <a:ext cx="10515600" cy="2926080"/>
        </p:xfrm>
        <a:graphic>
          <a:graphicData uri="http://schemas.openxmlformats.org/drawingml/2006/table">
            <a:tbl>
              <a:tblPr/>
              <a:tblGrid>
                <a:gridCol w="3505200">
                  <a:extLst>
                    <a:ext uri="{9D8B030D-6E8A-4147-A177-3AD203B41FA5}">
                      <a16:colId xmlns:a16="http://schemas.microsoft.com/office/drawing/2014/main" val="3586890863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91752305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253417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Aspek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DT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XML Schem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9655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/>
                        <a:t>Datentypen</a:t>
                      </a:r>
                      <a:endParaRPr lang="de-DE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Nur Tex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44+ eingebaute Type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8701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/>
                        <a:t>Namespaces</a:t>
                      </a:r>
                      <a:endParaRPr lang="de-DE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❌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✅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1955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/>
                        <a:t>Syntax</a:t>
                      </a:r>
                      <a:endParaRPr lang="de-DE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Eigene Syntax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XM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307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 dirty="0"/>
                        <a:t>Validierung</a:t>
                      </a:r>
                      <a:endParaRPr lang="de-DE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Basic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Komplex (Regex, Bereiche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9017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/>
                        <a:t>Vererbung</a:t>
                      </a:r>
                      <a:endParaRPr lang="de-DE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❌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✅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97511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/>
                        <a:t>Eindeutigkeit</a:t>
                      </a:r>
                      <a:endParaRPr lang="de-DE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Begrenz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Umfassen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2226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b="1"/>
                        <a:t>Dokumentation</a:t>
                      </a:r>
                      <a:endParaRPr lang="de-DE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/>
                        <a:t>Begrenz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de-DE" dirty="0" err="1"/>
                        <a:t>Annotations</a:t>
                      </a:r>
                      <a:r>
                        <a:rPr lang="de-DE" dirty="0"/>
                        <a:t> möglich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47870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26BDEDC1-C151-CE20-7474-0E8C175B2B4F}"/>
              </a:ext>
            </a:extLst>
          </p:cNvPr>
          <p:cNvSpPr txBox="1"/>
          <p:nvPr/>
        </p:nvSpPr>
        <p:spPr>
          <a:xfrm>
            <a:off x="2143126" y="5746688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JSON Schema:</a:t>
            </a:r>
            <a:r>
              <a:rPr lang="de-DE" dirty="0"/>
              <a:t> Für JSON-Daten </a:t>
            </a:r>
            <a:r>
              <a:rPr lang="de-DE" b="1" dirty="0"/>
              <a:t>RELAX NG</a:t>
            </a:r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010CA3D6-2A37-979E-A3B2-D1E5D64A937C}"/>
              </a:ext>
            </a:extLst>
          </p:cNvPr>
          <p:cNvCxnSpPr/>
          <p:nvPr/>
        </p:nvCxnSpPr>
        <p:spPr>
          <a:xfrm>
            <a:off x="947057" y="5233307"/>
            <a:ext cx="9348107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4CFFFC3C-DEF2-6700-03DB-97A0BA366075}"/>
              </a:ext>
            </a:extLst>
          </p:cNvPr>
          <p:cNvSpPr txBox="1"/>
          <p:nvPr/>
        </p:nvSpPr>
        <p:spPr>
          <a:xfrm>
            <a:off x="2065564" y="5437414"/>
            <a:ext cx="3649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eitere Alternativ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09CCDD3-A1B0-C0D5-2EFC-E5C6B7025B9D}"/>
              </a:ext>
            </a:extLst>
          </p:cNvPr>
          <p:cNvSpPr txBox="1"/>
          <p:nvPr/>
        </p:nvSpPr>
        <p:spPr>
          <a:xfrm>
            <a:off x="2143126" y="6116020"/>
            <a:ext cx="61477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Schematron</a:t>
            </a:r>
            <a:r>
              <a:rPr lang="de-DE" dirty="0"/>
              <a:t>: Regelbasierte Validierung</a:t>
            </a:r>
          </a:p>
        </p:txBody>
      </p:sp>
    </p:spTree>
    <p:extLst>
      <p:ext uri="{BB962C8B-B14F-4D97-AF65-F5344CB8AC3E}">
        <p14:creationId xmlns:p14="http://schemas.microsoft.com/office/powerpoint/2010/main" val="29396726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DBC4BA-E7F1-5A63-828E-7F65398AC4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F1426BF2-DA77-4379-471C-26689C78136D}"/>
              </a:ext>
            </a:extLst>
          </p:cNvPr>
          <p:cNvSpPr txBox="1"/>
          <p:nvPr/>
        </p:nvSpPr>
        <p:spPr>
          <a:xfrm>
            <a:off x="1445078" y="800100"/>
            <a:ext cx="80989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ogrammieraufgabe:</a:t>
            </a:r>
          </a:p>
          <a:p>
            <a:endParaRPr lang="de-DE" dirty="0"/>
          </a:p>
          <a:p>
            <a:r>
              <a:rPr lang="de-DE" dirty="0"/>
              <a:t>2x Schleifen</a:t>
            </a:r>
          </a:p>
          <a:p>
            <a:r>
              <a:rPr lang="de-DE" dirty="0"/>
              <a:t>2x IF-Abfragen</a:t>
            </a:r>
          </a:p>
          <a:p>
            <a:endParaRPr lang="de-DE" dirty="0"/>
          </a:p>
          <a:p>
            <a:r>
              <a:rPr lang="de-DE" dirty="0"/>
              <a:t>Zugrunde liegt meist der </a:t>
            </a:r>
            <a:r>
              <a:rPr lang="de-DE" dirty="0" err="1"/>
              <a:t>Bubblesort</a:t>
            </a:r>
            <a:r>
              <a:rPr lang="de-DE" dirty="0"/>
              <a:t> (Sortieralgorithmus )</a:t>
            </a:r>
          </a:p>
          <a:p>
            <a:r>
              <a:rPr lang="de-DE" dirty="0"/>
              <a:t>ALT:</a:t>
            </a:r>
          </a:p>
          <a:p>
            <a:r>
              <a:rPr lang="de-DE" dirty="0"/>
              <a:t>Prüfsumme</a:t>
            </a:r>
          </a:p>
          <a:p>
            <a:r>
              <a:rPr lang="de-DE" dirty="0"/>
              <a:t>ALT:</a:t>
            </a:r>
          </a:p>
          <a:p>
            <a:r>
              <a:rPr lang="de-DE" dirty="0"/>
              <a:t>Aufgrund einer vorgegebenen Programmierung per Schreibtischtest Fehler find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08ADD91-8A77-6B8A-9E0C-B5098ED35BCB}"/>
              </a:ext>
            </a:extLst>
          </p:cNvPr>
          <p:cNvSpPr txBox="1"/>
          <p:nvPr/>
        </p:nvSpPr>
        <p:spPr>
          <a:xfrm>
            <a:off x="1669595" y="4188190"/>
            <a:ext cx="920523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- Array auslesen und neu sortieren (</a:t>
            </a:r>
            <a:r>
              <a:rPr lang="de-DE" dirty="0" err="1"/>
              <a:t>Bubblesort</a:t>
            </a:r>
            <a:r>
              <a:rPr lang="de-DE" dirty="0"/>
              <a:t>)</a:t>
            </a:r>
          </a:p>
          <a:p>
            <a:r>
              <a:rPr lang="de-DE" dirty="0"/>
              <a:t>- Prüfsumme berechnen</a:t>
            </a:r>
          </a:p>
          <a:p>
            <a:r>
              <a:rPr lang="de-DE" dirty="0"/>
              <a:t>- </a:t>
            </a:r>
            <a:r>
              <a:rPr lang="de-DE" dirty="0" err="1"/>
              <a:t>getter</a:t>
            </a:r>
            <a:r>
              <a:rPr lang="de-DE" dirty="0"/>
              <a:t>- und </a:t>
            </a:r>
            <a:r>
              <a:rPr lang="de-DE" dirty="0" err="1"/>
              <a:t>setter</a:t>
            </a:r>
            <a:r>
              <a:rPr lang="de-DE" dirty="0"/>
              <a:t>-Methoden für eine Klasse (Pseudocode mit Punktnotation </a:t>
            </a:r>
            <a:r>
              <a:rPr lang="de-DE" dirty="0" err="1"/>
              <a:t>Liste.element</a:t>
            </a:r>
            <a:r>
              <a:rPr lang="de-DE" dirty="0"/>
              <a:t>[i; j]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5031830-04EA-1DE8-D076-107F5AB7B376}"/>
              </a:ext>
            </a:extLst>
          </p:cNvPr>
          <p:cNvSpPr txBox="1"/>
          <p:nvPr/>
        </p:nvSpPr>
        <p:spPr>
          <a:xfrm>
            <a:off x="1734910" y="5339060"/>
            <a:ext cx="832348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trike="sngStrike" dirty="0"/>
              <a:t>Programmablaufplan (DIN 66001)</a:t>
            </a:r>
          </a:p>
          <a:p>
            <a:r>
              <a:rPr lang="de-DE" strike="sngStrike" dirty="0"/>
              <a:t>Struktogramm nach </a:t>
            </a:r>
            <a:r>
              <a:rPr lang="de-DE" strike="sngStrike" dirty="0" err="1"/>
              <a:t>Nassi</a:t>
            </a:r>
            <a:r>
              <a:rPr lang="de-DE" strike="sngStrike" dirty="0"/>
              <a:t> </a:t>
            </a:r>
            <a:r>
              <a:rPr lang="de-DE" strike="sngStrike" dirty="0" err="1"/>
              <a:t>Shneiderman</a:t>
            </a:r>
            <a:r>
              <a:rPr lang="de-DE" strike="sngStrike" dirty="0"/>
              <a:t> (DIN 66261)</a:t>
            </a:r>
          </a:p>
          <a:p>
            <a:r>
              <a:rPr lang="de-DE" dirty="0"/>
              <a:t>Pseudocode (ist frei erfunden) oder Programmcode (der nicht genau sein muss)</a:t>
            </a:r>
          </a:p>
        </p:txBody>
      </p:sp>
    </p:spTree>
    <p:extLst>
      <p:ext uri="{BB962C8B-B14F-4D97-AF65-F5344CB8AC3E}">
        <p14:creationId xmlns:p14="http://schemas.microsoft.com/office/powerpoint/2010/main" val="26472521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184815-7253-4A48-8783-A5064F3D73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5B28FF9-5227-994A-79BE-CA570798F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85" y="0"/>
            <a:ext cx="7962922" cy="3627415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6AE0F6DE-B400-3DB0-811B-ADD197997FA1}"/>
              </a:ext>
            </a:extLst>
          </p:cNvPr>
          <p:cNvCxnSpPr/>
          <p:nvPr/>
        </p:nvCxnSpPr>
        <p:spPr>
          <a:xfrm>
            <a:off x="3371850" y="3143250"/>
            <a:ext cx="1600200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5F98DAD5-B5C6-996A-9E3A-F5C6AF820DFD}"/>
              </a:ext>
            </a:extLst>
          </p:cNvPr>
          <p:cNvSpPr txBox="1"/>
          <p:nvPr/>
        </p:nvSpPr>
        <p:spPr>
          <a:xfrm>
            <a:off x="465364" y="3627415"/>
            <a:ext cx="7086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ÜR i := 0; i &lt; </a:t>
            </a:r>
            <a:r>
              <a:rPr lang="de-DE" dirty="0" err="1"/>
              <a:t>raeume.length</a:t>
            </a:r>
            <a:r>
              <a:rPr lang="de-DE" dirty="0"/>
              <a:t> – 1; i++</a:t>
            </a:r>
          </a:p>
          <a:p>
            <a:r>
              <a:rPr lang="de-DE" dirty="0"/>
              <a:t>	WENN </a:t>
            </a:r>
            <a:r>
              <a:rPr lang="de-DE" dirty="0" err="1"/>
              <a:t>raeume</a:t>
            </a:r>
            <a:r>
              <a:rPr lang="de-DE" dirty="0"/>
              <a:t>[i].</a:t>
            </a:r>
            <a:r>
              <a:rPr lang="de-DE" dirty="0" err="1"/>
              <a:t>getBelegung</a:t>
            </a:r>
            <a:r>
              <a:rPr lang="de-DE" dirty="0"/>
              <a:t>() &gt; </a:t>
            </a:r>
            <a:r>
              <a:rPr lang="de-DE" dirty="0" err="1"/>
              <a:t>raeume</a:t>
            </a:r>
            <a:r>
              <a:rPr lang="de-DE" dirty="0"/>
              <a:t>[i+1].</a:t>
            </a:r>
            <a:r>
              <a:rPr lang="de-DE" dirty="0" err="1"/>
              <a:t>getBelegung</a:t>
            </a:r>
            <a:r>
              <a:rPr lang="de-DE" dirty="0"/>
              <a:t>()</a:t>
            </a:r>
          </a:p>
          <a:p>
            <a:r>
              <a:rPr lang="de-DE" dirty="0"/>
              <a:t>		Raum r :=  </a:t>
            </a:r>
            <a:r>
              <a:rPr lang="de-DE" dirty="0" err="1"/>
              <a:t>raeume</a:t>
            </a:r>
            <a:r>
              <a:rPr lang="de-DE" dirty="0"/>
              <a:t>[i]</a:t>
            </a:r>
          </a:p>
          <a:p>
            <a:r>
              <a:rPr lang="de-DE" dirty="0"/>
              <a:t>		</a:t>
            </a:r>
            <a:r>
              <a:rPr lang="de-DE" dirty="0" err="1"/>
              <a:t>raeume</a:t>
            </a:r>
            <a:r>
              <a:rPr lang="de-DE" dirty="0"/>
              <a:t>[i] = </a:t>
            </a:r>
            <a:r>
              <a:rPr lang="de-DE" dirty="0" err="1"/>
              <a:t>raeume</a:t>
            </a:r>
            <a:r>
              <a:rPr lang="de-DE" dirty="0"/>
              <a:t>[i+1]</a:t>
            </a:r>
          </a:p>
          <a:p>
            <a:r>
              <a:rPr lang="de-DE" dirty="0"/>
              <a:t>		</a:t>
            </a:r>
            <a:r>
              <a:rPr lang="de-DE" dirty="0" err="1"/>
              <a:t>raeume</a:t>
            </a:r>
            <a:r>
              <a:rPr lang="de-DE" dirty="0"/>
              <a:t>[i+1] = r</a:t>
            </a:r>
          </a:p>
          <a:p>
            <a:r>
              <a:rPr lang="de-DE" dirty="0"/>
              <a:t>	ENDE WENN</a:t>
            </a:r>
          </a:p>
          <a:p>
            <a:r>
              <a:rPr lang="de-DE" dirty="0"/>
              <a:t>ENDE FÜR</a:t>
            </a:r>
          </a:p>
          <a:p>
            <a:r>
              <a:rPr lang="de-DE" dirty="0"/>
              <a:t>ENDE </a:t>
            </a:r>
            <a:r>
              <a:rPr lang="de-DE" dirty="0" err="1"/>
              <a:t>so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6789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22628E-E243-ECCD-D198-1EF85E6A1B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E2FB5B6C-574D-D243-4528-3414B62DD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071726"/>
              </p:ext>
            </p:extLst>
          </p:nvPr>
        </p:nvGraphicFramePr>
        <p:xfrm>
          <a:off x="1313543" y="4336445"/>
          <a:ext cx="8128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71847782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15422338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591708007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9010584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Ind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3388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ortm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50.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R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9796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tuttg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650.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highlight>
                            <a:srgbClr val="FFFF00"/>
                          </a:highlight>
                        </a:rPr>
                        <a:t>BaWü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50489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rl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.500.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rl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2512022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EC7CBE1E-BA7E-A33B-4EC1-B7EEEF1A23EE}"/>
              </a:ext>
            </a:extLst>
          </p:cNvPr>
          <p:cNvSpPr txBox="1"/>
          <p:nvPr/>
        </p:nvSpPr>
        <p:spPr>
          <a:xfrm>
            <a:off x="1526721" y="3698421"/>
            <a:ext cx="36167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Zwei-dimensionales Array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91EF48DE-5427-1709-65A3-C0C7DCED7F8D}"/>
              </a:ext>
            </a:extLst>
          </p:cNvPr>
          <p:cNvCxnSpPr/>
          <p:nvPr/>
        </p:nvCxnSpPr>
        <p:spPr>
          <a:xfrm>
            <a:off x="1526721" y="4067753"/>
            <a:ext cx="0" cy="26869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9145C0E-DF7B-0F1F-40C9-E1996D1494AA}"/>
              </a:ext>
            </a:extLst>
          </p:cNvPr>
          <p:cNvCxnSpPr/>
          <p:nvPr/>
        </p:nvCxnSpPr>
        <p:spPr>
          <a:xfrm>
            <a:off x="947057" y="4449536"/>
            <a:ext cx="277586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DE02548C-82E3-DA1C-D50D-209FC1547EA3}"/>
              </a:ext>
            </a:extLst>
          </p:cNvPr>
          <p:cNvSpPr txBox="1"/>
          <p:nvPr/>
        </p:nvSpPr>
        <p:spPr>
          <a:xfrm>
            <a:off x="1739900" y="3967113"/>
            <a:ext cx="1118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: </a:t>
            </a:r>
            <a:r>
              <a:rPr lang="de-DE" dirty="0" err="1"/>
              <a:t>Staedte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910FBE-7D05-6081-27BA-C4C11FC384D6}"/>
              </a:ext>
            </a:extLst>
          </p:cNvPr>
          <p:cNvSpPr txBox="1"/>
          <p:nvPr/>
        </p:nvSpPr>
        <p:spPr>
          <a:xfrm>
            <a:off x="3608614" y="2792186"/>
            <a:ext cx="3486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taedte</a:t>
            </a:r>
            <a:r>
              <a:rPr lang="de-DE" dirty="0"/>
              <a:t>[</a:t>
            </a:r>
            <a:r>
              <a:rPr lang="de-DE" dirty="0" err="1"/>
              <a:t>zeile</a:t>
            </a:r>
            <a:r>
              <a:rPr lang="de-DE" dirty="0"/>
              <a:t>][spalte]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9ECB891-57CC-D6F0-EFF8-C3392B03C20B}"/>
              </a:ext>
            </a:extLst>
          </p:cNvPr>
          <p:cNvSpPr txBox="1"/>
          <p:nvPr/>
        </p:nvSpPr>
        <p:spPr>
          <a:xfrm>
            <a:off x="4612822" y="3216727"/>
            <a:ext cx="3486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Bundesland := </a:t>
            </a:r>
            <a:r>
              <a:rPr lang="de-DE" dirty="0" err="1"/>
              <a:t>Staedte</a:t>
            </a:r>
            <a:r>
              <a:rPr lang="de-DE" dirty="0"/>
              <a:t>[1][2]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1C3CAA3-A435-F681-7D5D-7C6B8A85D333}"/>
              </a:ext>
            </a:extLst>
          </p:cNvPr>
          <p:cNvCxnSpPr/>
          <p:nvPr/>
        </p:nvCxnSpPr>
        <p:spPr>
          <a:xfrm flipH="1">
            <a:off x="5475514" y="3234995"/>
            <a:ext cx="124097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ED2EEDE0-5BFB-D985-7489-90C0C3C755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0851326"/>
              </p:ext>
            </p:extLst>
          </p:nvPr>
        </p:nvGraphicFramePr>
        <p:xfrm>
          <a:off x="2032000" y="719666"/>
          <a:ext cx="2458358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9179">
                  <a:extLst>
                    <a:ext uri="{9D8B030D-6E8A-4147-A177-3AD203B41FA5}">
                      <a16:colId xmlns:a16="http://schemas.microsoft.com/office/drawing/2014/main" val="1619254923"/>
                    </a:ext>
                  </a:extLst>
                </a:gridCol>
                <a:gridCol w="1229179">
                  <a:extLst>
                    <a:ext uri="{9D8B030D-6E8A-4147-A177-3AD203B41FA5}">
                      <a16:colId xmlns:a16="http://schemas.microsoft.com/office/drawing/2014/main" val="38390834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Ind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7320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289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909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210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634688"/>
                  </a:ext>
                </a:extLst>
              </a:tr>
            </a:tbl>
          </a:graphicData>
        </a:graphic>
      </p:graphicFrame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9A3E957-9B86-50F0-77CF-E632382F2351}"/>
              </a:ext>
            </a:extLst>
          </p:cNvPr>
          <p:cNvCxnSpPr/>
          <p:nvPr/>
        </p:nvCxnSpPr>
        <p:spPr>
          <a:xfrm>
            <a:off x="4490358" y="1240971"/>
            <a:ext cx="587828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B45C6A1-DD90-03D7-779A-C34FC459E218}"/>
              </a:ext>
            </a:extLst>
          </p:cNvPr>
          <p:cNvCxnSpPr/>
          <p:nvPr/>
        </p:nvCxnSpPr>
        <p:spPr>
          <a:xfrm>
            <a:off x="4490358" y="1583871"/>
            <a:ext cx="587828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AE2C359B-DC96-C926-D5EA-41A27AEF019D}"/>
              </a:ext>
            </a:extLst>
          </p:cNvPr>
          <p:cNvSpPr txBox="1"/>
          <p:nvPr/>
        </p:nvSpPr>
        <p:spPr>
          <a:xfrm>
            <a:off x="5143500" y="1240971"/>
            <a:ext cx="587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459BF85F-8257-E283-C7E5-B3E987B26F19}"/>
              </a:ext>
            </a:extLst>
          </p:cNvPr>
          <p:cNvCxnSpPr/>
          <p:nvPr/>
        </p:nvCxnSpPr>
        <p:spPr>
          <a:xfrm>
            <a:off x="5143500" y="1240971"/>
            <a:ext cx="111850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AC67E1E9-5934-ECBA-1DAF-18B272B27351}"/>
              </a:ext>
            </a:extLst>
          </p:cNvPr>
          <p:cNvSpPr txBox="1"/>
          <p:nvPr/>
        </p:nvSpPr>
        <p:spPr>
          <a:xfrm>
            <a:off x="6335486" y="1061357"/>
            <a:ext cx="1061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Variabl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0A3B4EB-15F3-86B2-48DB-A85003412687}"/>
              </a:ext>
            </a:extLst>
          </p:cNvPr>
          <p:cNvSpPr txBox="1"/>
          <p:nvPr/>
        </p:nvSpPr>
        <p:spPr>
          <a:xfrm>
            <a:off x="6335486" y="1477734"/>
            <a:ext cx="10613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Variable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359D57C9-36F0-8198-4B56-D3068B8A3DA6}"/>
              </a:ext>
            </a:extLst>
          </p:cNvPr>
          <p:cNvCxnSpPr>
            <a:stCxn id="21" idx="1"/>
            <a:endCxn id="13" idx="3"/>
          </p:cNvCxnSpPr>
          <p:nvPr/>
        </p:nvCxnSpPr>
        <p:spPr>
          <a:xfrm flipH="1" flipV="1">
            <a:off x="4490358" y="1646766"/>
            <a:ext cx="1845128" cy="1563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F792326E-2B1E-2DB0-3D5E-C2D4709A3218}"/>
              </a:ext>
            </a:extLst>
          </p:cNvPr>
          <p:cNvSpPr txBox="1"/>
          <p:nvPr/>
        </p:nvSpPr>
        <p:spPr>
          <a:xfrm>
            <a:off x="7556046" y="1839384"/>
            <a:ext cx="2016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array</a:t>
            </a:r>
            <a:r>
              <a:rPr lang="de-DE" dirty="0"/>
              <a:t>[0] := </a:t>
            </a:r>
            <a:r>
              <a:rPr lang="de-DE" dirty="0" err="1"/>
              <a:t>array</a:t>
            </a:r>
            <a:r>
              <a:rPr lang="de-DE" dirty="0"/>
              <a:t>[1]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08C2045-F5FA-D67E-372F-A74EE74A9A23}"/>
              </a:ext>
            </a:extLst>
          </p:cNvPr>
          <p:cNvSpPr txBox="1"/>
          <p:nvPr/>
        </p:nvSpPr>
        <p:spPr>
          <a:xfrm>
            <a:off x="7556046" y="2281675"/>
            <a:ext cx="2016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array</a:t>
            </a:r>
            <a:r>
              <a:rPr lang="de-DE" dirty="0"/>
              <a:t>[1] := variabl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4FA9731-69AA-84DE-86C2-52860FDC863B}"/>
              </a:ext>
            </a:extLst>
          </p:cNvPr>
          <p:cNvSpPr txBox="1"/>
          <p:nvPr/>
        </p:nvSpPr>
        <p:spPr>
          <a:xfrm>
            <a:off x="7556046" y="719666"/>
            <a:ext cx="3596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st </a:t>
            </a:r>
            <a:r>
              <a:rPr lang="de-DE" dirty="0" err="1"/>
              <a:t>array</a:t>
            </a:r>
            <a:r>
              <a:rPr lang="de-DE" dirty="0"/>
              <a:t>[0] &lt; </a:t>
            </a:r>
            <a:r>
              <a:rPr lang="de-DE" dirty="0" err="1"/>
              <a:t>array</a:t>
            </a:r>
            <a:r>
              <a:rPr lang="de-DE" dirty="0"/>
              <a:t>[1] DANN: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DD26822-F866-18AA-0488-0C6FE14EE98D}"/>
              </a:ext>
            </a:extLst>
          </p:cNvPr>
          <p:cNvSpPr txBox="1"/>
          <p:nvPr/>
        </p:nvSpPr>
        <p:spPr>
          <a:xfrm>
            <a:off x="7715249" y="1310123"/>
            <a:ext cx="2016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variable := </a:t>
            </a:r>
            <a:r>
              <a:rPr lang="de-DE" dirty="0" err="1"/>
              <a:t>array</a:t>
            </a:r>
            <a:r>
              <a:rPr lang="de-DE" dirty="0"/>
              <a:t>[0]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28" name="Freihand 27">
                <a:extLst>
                  <a:ext uri="{FF2B5EF4-FFF2-40B4-BE49-F238E27FC236}">
                    <a16:creationId xmlns:a16="http://schemas.microsoft.com/office/drawing/2014/main" id="{4BD79BF2-475F-1500-840B-B727CBC8B859}"/>
                  </a:ext>
                </a:extLst>
              </p14:cNvPr>
              <p14:cNvContentPartPr/>
              <p14:nvPr/>
            </p14:nvContentPartPr>
            <p14:xfrm>
              <a:off x="2065603" y="2147169"/>
              <a:ext cx="190440" cy="9000"/>
            </p14:xfrm>
          </p:contentPart>
        </mc:Choice>
        <mc:Fallback>
          <p:pic>
            <p:nvPicPr>
              <p:cNvPr id="28" name="Freihand 27">
                <a:extLst>
                  <a:ext uri="{FF2B5EF4-FFF2-40B4-BE49-F238E27FC236}">
                    <a16:creationId xmlns:a16="http://schemas.microsoft.com/office/drawing/2014/main" id="{4BD79BF2-475F-1500-840B-B727CBC8B859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47603" y="2129169"/>
                <a:ext cx="226080" cy="44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9" name="Freihand 28">
                <a:extLst>
                  <a:ext uri="{FF2B5EF4-FFF2-40B4-BE49-F238E27FC236}">
                    <a16:creationId xmlns:a16="http://schemas.microsoft.com/office/drawing/2014/main" id="{ACF3D87D-AC27-E587-C7FA-C30AA0E44F21}"/>
                  </a:ext>
                </a:extLst>
              </p14:cNvPr>
              <p14:cNvContentPartPr/>
              <p14:nvPr/>
            </p14:nvContentPartPr>
            <p14:xfrm>
              <a:off x="1720363" y="1158969"/>
              <a:ext cx="46080" cy="1497600"/>
            </p14:xfrm>
          </p:contentPart>
        </mc:Choice>
        <mc:Fallback>
          <p:pic>
            <p:nvPicPr>
              <p:cNvPr id="29" name="Freihand 28">
                <a:extLst>
                  <a:ext uri="{FF2B5EF4-FFF2-40B4-BE49-F238E27FC236}">
                    <a16:creationId xmlns:a16="http://schemas.microsoft.com/office/drawing/2014/main" id="{ACF3D87D-AC27-E587-C7FA-C30AA0E44F2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02363" y="1141329"/>
                <a:ext cx="81720" cy="1533240"/>
              </a:xfrm>
              <a:prstGeom prst="rect">
                <a:avLst/>
              </a:prstGeom>
            </p:spPr>
          </p:pic>
        </mc:Fallback>
      </mc:AlternateContent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5C5F6A65-F8FC-134E-AF97-D7F7322D0739}"/>
              </a:ext>
            </a:extLst>
          </p:cNvPr>
          <p:cNvGrpSpPr/>
          <p:nvPr/>
        </p:nvGrpSpPr>
        <p:grpSpPr>
          <a:xfrm>
            <a:off x="1247323" y="1616169"/>
            <a:ext cx="242280" cy="257400"/>
            <a:chOff x="1247323" y="1616169"/>
            <a:chExt cx="242280" cy="257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30" name="Freihand 29">
                  <a:extLst>
                    <a:ext uri="{FF2B5EF4-FFF2-40B4-BE49-F238E27FC236}">
                      <a16:creationId xmlns:a16="http://schemas.microsoft.com/office/drawing/2014/main" id="{6F80E159-5F48-4D25-C34D-1A551956BBA9}"/>
                    </a:ext>
                  </a:extLst>
                </p14:cNvPr>
                <p14:cNvContentPartPr/>
                <p14:nvPr/>
              </p14:nvContentPartPr>
              <p14:xfrm>
                <a:off x="1247323" y="1616169"/>
                <a:ext cx="242280" cy="174240"/>
              </p14:xfrm>
            </p:contentPart>
          </mc:Choice>
          <mc:Fallback>
            <p:pic>
              <p:nvPicPr>
                <p:cNvPr id="30" name="Freihand 29">
                  <a:extLst>
                    <a:ext uri="{FF2B5EF4-FFF2-40B4-BE49-F238E27FC236}">
                      <a16:creationId xmlns:a16="http://schemas.microsoft.com/office/drawing/2014/main" id="{6F80E159-5F48-4D25-C34D-1A551956BBA9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229683" y="1598169"/>
                  <a:ext cx="277920" cy="209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31" name="Freihand 30">
                  <a:extLst>
                    <a:ext uri="{FF2B5EF4-FFF2-40B4-BE49-F238E27FC236}">
                      <a16:creationId xmlns:a16="http://schemas.microsoft.com/office/drawing/2014/main" id="{45F414F7-78A1-868F-00B1-BEB4163A6653}"/>
                    </a:ext>
                  </a:extLst>
                </p14:cNvPr>
                <p14:cNvContentPartPr/>
                <p14:nvPr/>
              </p14:nvContentPartPr>
              <p14:xfrm>
                <a:off x="1419043" y="1714089"/>
                <a:ext cx="25920" cy="159480"/>
              </p14:xfrm>
            </p:contentPart>
          </mc:Choice>
          <mc:Fallback>
            <p:pic>
              <p:nvPicPr>
                <p:cNvPr id="31" name="Freihand 30">
                  <a:extLst>
                    <a:ext uri="{FF2B5EF4-FFF2-40B4-BE49-F238E27FC236}">
                      <a16:creationId xmlns:a16="http://schemas.microsoft.com/office/drawing/2014/main" id="{45F414F7-78A1-868F-00B1-BEB4163A6653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401403" y="1696449"/>
                  <a:ext cx="61560" cy="1951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38603608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BE36A-4B96-1851-77B6-539C4F6AF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E2C74E6-4903-8D46-F9D9-F0ED049AA0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579" y="0"/>
            <a:ext cx="9509422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3" name="Freihand 2">
                <a:extLst>
                  <a:ext uri="{FF2B5EF4-FFF2-40B4-BE49-F238E27FC236}">
                    <a16:creationId xmlns:a16="http://schemas.microsoft.com/office/drawing/2014/main" id="{2A1C1F7B-2A20-CF4E-0EF7-E2E6591A2417}"/>
                  </a:ext>
                </a:extLst>
              </p14:cNvPr>
              <p14:cNvContentPartPr/>
              <p14:nvPr/>
            </p14:nvContentPartPr>
            <p14:xfrm>
              <a:off x="742603" y="3044649"/>
              <a:ext cx="8570520" cy="214560"/>
            </p14:xfrm>
          </p:contentPart>
        </mc:Choice>
        <mc:Fallback>
          <p:pic>
            <p:nvPicPr>
              <p:cNvPr id="3" name="Freihand 2">
                <a:extLst>
                  <a:ext uri="{FF2B5EF4-FFF2-40B4-BE49-F238E27FC236}">
                    <a16:creationId xmlns:a16="http://schemas.microsoft.com/office/drawing/2014/main" id="{2A1C1F7B-2A20-CF4E-0EF7-E2E6591A241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88603" y="2936649"/>
                <a:ext cx="8678160" cy="430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5B3BD68E-2852-C3B7-8AF3-2065E37495CF}"/>
                  </a:ext>
                </a:extLst>
              </p14:cNvPr>
              <p14:cNvContentPartPr/>
              <p14:nvPr/>
            </p14:nvContentPartPr>
            <p14:xfrm>
              <a:off x="1690123" y="5672289"/>
              <a:ext cx="1377720" cy="18720"/>
            </p14:xfrm>
          </p:contentPart>
        </mc:Choice>
        <mc:Fallback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5B3BD68E-2852-C3B7-8AF3-2065E37495C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636123" y="5564649"/>
                <a:ext cx="1485360" cy="234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B857A825-7FC3-DB8E-744D-C6B503C990DF}"/>
                  </a:ext>
                </a:extLst>
              </p14:cNvPr>
              <p14:cNvContentPartPr/>
              <p14:nvPr/>
            </p14:nvContentPartPr>
            <p14:xfrm>
              <a:off x="3978283" y="5698569"/>
              <a:ext cx="30600" cy="360"/>
            </p14:xfrm>
          </p:contentPart>
        </mc:Choice>
        <mc:Fallback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B857A825-7FC3-DB8E-744D-C6B503C990DF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924643" y="5590929"/>
                <a:ext cx="13824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78098E90-D1F6-A802-E3EA-025DDBA41D4D}"/>
                  </a:ext>
                </a:extLst>
              </p14:cNvPr>
              <p14:cNvContentPartPr/>
              <p14:nvPr/>
            </p14:nvContentPartPr>
            <p14:xfrm>
              <a:off x="4000243" y="5682009"/>
              <a:ext cx="1275840" cy="5004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78098E90-D1F6-A802-E3EA-025DDBA41D4D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946243" y="5574009"/>
                <a:ext cx="1383480" cy="265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9FB35824-E6A1-9456-CF40-68229519AA45}"/>
                  </a:ext>
                </a:extLst>
              </p14:cNvPr>
              <p14:cNvContentPartPr/>
              <p14:nvPr/>
            </p14:nvContentPartPr>
            <p14:xfrm>
              <a:off x="3730963" y="5675889"/>
              <a:ext cx="570600" cy="6480"/>
            </p14:xfrm>
          </p:contentPart>
        </mc:Choice>
        <mc:Fallback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9FB35824-E6A1-9456-CF40-68229519AA45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676963" y="5567889"/>
                <a:ext cx="678240" cy="22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">
            <p14:nvContentPartPr>
              <p14:cNvPr id="8" name="Freihand 7">
                <a:extLst>
                  <a:ext uri="{FF2B5EF4-FFF2-40B4-BE49-F238E27FC236}">
                    <a16:creationId xmlns:a16="http://schemas.microsoft.com/office/drawing/2014/main" id="{FBC61539-1837-07E7-30D6-7DB3B0996434}"/>
                  </a:ext>
                </a:extLst>
              </p14:cNvPr>
              <p14:cNvContentPartPr/>
              <p14:nvPr/>
            </p14:nvContentPartPr>
            <p14:xfrm>
              <a:off x="685723" y="4824849"/>
              <a:ext cx="1580760" cy="223200"/>
            </p14:xfrm>
          </p:contentPart>
        </mc:Choice>
        <mc:Fallback>
          <p:pic>
            <p:nvPicPr>
              <p:cNvPr id="8" name="Freihand 7">
                <a:extLst>
                  <a:ext uri="{FF2B5EF4-FFF2-40B4-BE49-F238E27FC236}">
                    <a16:creationId xmlns:a16="http://schemas.microsoft.com/office/drawing/2014/main" id="{FBC61539-1837-07E7-30D6-7DB3B0996434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31723" y="4716849"/>
                <a:ext cx="1688400" cy="43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983C98E1-9E8E-49E4-86F2-3D6AB0A5E0D2}"/>
                  </a:ext>
                </a:extLst>
              </p14:cNvPr>
              <p14:cNvContentPartPr/>
              <p14:nvPr/>
            </p14:nvContentPartPr>
            <p14:xfrm>
              <a:off x="2792083" y="4772649"/>
              <a:ext cx="4529160" cy="86040"/>
            </p14:xfrm>
          </p:contentPart>
        </mc:Choice>
        <mc:Fallback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983C98E1-9E8E-49E4-86F2-3D6AB0A5E0D2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738443" y="4665009"/>
                <a:ext cx="4636800" cy="301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7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64133C62-10CE-9B75-0858-DF21009BF77B}"/>
                  </a:ext>
                </a:extLst>
              </p14:cNvPr>
              <p14:cNvContentPartPr/>
              <p14:nvPr/>
            </p14:nvContentPartPr>
            <p14:xfrm>
              <a:off x="896323" y="1784289"/>
              <a:ext cx="146160" cy="145440"/>
            </p14:xfrm>
          </p:contentPart>
        </mc:Choice>
        <mc:Fallback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64133C62-10CE-9B75-0858-DF21009BF77B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878323" y="1766289"/>
                <a:ext cx="181800" cy="181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9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339725D3-4A9E-4B8D-9A8E-FCA8CD73E427}"/>
                  </a:ext>
                </a:extLst>
              </p14:cNvPr>
              <p14:cNvContentPartPr/>
              <p14:nvPr/>
            </p14:nvContentPartPr>
            <p14:xfrm>
              <a:off x="1624243" y="1876809"/>
              <a:ext cx="303120" cy="121680"/>
            </p14:xfrm>
          </p:contentPart>
        </mc:Choice>
        <mc:Fallback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339725D3-4A9E-4B8D-9A8E-FCA8CD73E427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606603" y="1858809"/>
                <a:ext cx="338760" cy="157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1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D33F1C4D-EA61-E264-8DEA-3B3E9A911793}"/>
                  </a:ext>
                </a:extLst>
              </p14:cNvPr>
              <p14:cNvContentPartPr/>
              <p14:nvPr/>
            </p14:nvContentPartPr>
            <p14:xfrm>
              <a:off x="2702443" y="1869249"/>
              <a:ext cx="298800" cy="176400"/>
            </p14:xfrm>
          </p:contentPart>
        </mc:Choice>
        <mc:Fallback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D33F1C4D-EA61-E264-8DEA-3B3E9A911793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2684443" y="1851609"/>
                <a:ext cx="334440" cy="212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3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D891459A-B2A1-DCED-6712-0F8809B6AF08}"/>
                  </a:ext>
                </a:extLst>
              </p14:cNvPr>
              <p14:cNvContentPartPr/>
              <p14:nvPr/>
            </p14:nvContentPartPr>
            <p14:xfrm>
              <a:off x="3575803" y="1827849"/>
              <a:ext cx="214560" cy="184320"/>
            </p14:xfrm>
          </p:contentPart>
        </mc:Choice>
        <mc:Fallback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D891459A-B2A1-DCED-6712-0F8809B6AF08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3557803" y="1810209"/>
                <a:ext cx="250200" cy="219960"/>
              </a:xfrm>
              <a:prstGeom prst="rect">
                <a:avLst/>
              </a:prstGeom>
            </p:spPr>
          </p:pic>
        </mc:Fallback>
      </mc:AlternateContent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944052E-51E9-2C0F-C305-AD77741EC40F}"/>
              </a:ext>
            </a:extLst>
          </p:cNvPr>
          <p:cNvGrpSpPr/>
          <p:nvPr/>
        </p:nvGrpSpPr>
        <p:grpSpPr>
          <a:xfrm>
            <a:off x="4604683" y="1812369"/>
            <a:ext cx="236880" cy="245520"/>
            <a:chOff x="4604683" y="1812369"/>
            <a:chExt cx="236880" cy="245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4" name="Freihand 13">
                  <a:extLst>
                    <a:ext uri="{FF2B5EF4-FFF2-40B4-BE49-F238E27FC236}">
                      <a16:creationId xmlns:a16="http://schemas.microsoft.com/office/drawing/2014/main" id="{01E476D0-0D2E-FBCA-26D4-B8C0132D0F83}"/>
                    </a:ext>
                  </a:extLst>
                </p14:cNvPr>
                <p14:cNvContentPartPr/>
                <p14:nvPr/>
              </p14:nvContentPartPr>
              <p14:xfrm>
                <a:off x="4604683" y="1812369"/>
                <a:ext cx="231840" cy="158040"/>
              </p14:xfrm>
            </p:contentPart>
          </mc:Choice>
          <mc:Fallback>
            <p:pic>
              <p:nvPicPr>
                <p:cNvPr id="14" name="Freihand 13">
                  <a:extLst>
                    <a:ext uri="{FF2B5EF4-FFF2-40B4-BE49-F238E27FC236}">
                      <a16:creationId xmlns:a16="http://schemas.microsoft.com/office/drawing/2014/main" id="{01E476D0-0D2E-FBCA-26D4-B8C0132D0F8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4586683" y="1794729"/>
                  <a:ext cx="267480" cy="19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66F7EC5B-85F1-CA1A-CE51-9D27089EB340}"/>
                    </a:ext>
                  </a:extLst>
                </p14:cNvPr>
                <p14:cNvContentPartPr/>
                <p14:nvPr/>
              </p14:nvContentPartPr>
              <p14:xfrm>
                <a:off x="4741483" y="1890489"/>
                <a:ext cx="100080" cy="167400"/>
              </p14:xfrm>
            </p:contentPart>
          </mc:Choice>
          <mc:Fallback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66F7EC5B-85F1-CA1A-CE51-9D27089EB340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4723483" y="1872489"/>
                  <a:ext cx="135720" cy="203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E63B959D-5BC4-5795-AB13-0FFAB7C2EED9}"/>
              </a:ext>
            </a:extLst>
          </p:cNvPr>
          <p:cNvGrpSpPr/>
          <p:nvPr/>
        </p:nvGrpSpPr>
        <p:grpSpPr>
          <a:xfrm>
            <a:off x="5421163" y="1799409"/>
            <a:ext cx="354240" cy="243720"/>
            <a:chOff x="5421163" y="1799409"/>
            <a:chExt cx="354240" cy="243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B0DD01DE-65E3-DE58-F967-C5C8E8709509}"/>
                    </a:ext>
                  </a:extLst>
                </p14:cNvPr>
                <p14:cNvContentPartPr/>
                <p14:nvPr/>
              </p14:nvContentPartPr>
              <p14:xfrm>
                <a:off x="5421163" y="1804089"/>
                <a:ext cx="133920" cy="239040"/>
              </p14:xfrm>
            </p:contentPart>
          </mc:Choice>
          <mc:Fallback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B0DD01DE-65E3-DE58-F967-C5C8E8709509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5403523" y="1786089"/>
                  <a:ext cx="169560" cy="27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7" name="Freihand 16">
                  <a:extLst>
                    <a:ext uri="{FF2B5EF4-FFF2-40B4-BE49-F238E27FC236}">
                      <a16:creationId xmlns:a16="http://schemas.microsoft.com/office/drawing/2014/main" id="{71552FAB-24C8-B09B-1C4E-FE7C8F765D33}"/>
                    </a:ext>
                  </a:extLst>
                </p14:cNvPr>
                <p14:cNvContentPartPr/>
                <p14:nvPr/>
              </p14:nvContentPartPr>
              <p14:xfrm>
                <a:off x="5551843" y="1799409"/>
                <a:ext cx="223560" cy="13320"/>
              </p14:xfrm>
            </p:contentPart>
          </mc:Choice>
          <mc:Fallback>
            <p:pic>
              <p:nvPicPr>
                <p:cNvPr id="17" name="Freihand 16">
                  <a:extLst>
                    <a:ext uri="{FF2B5EF4-FFF2-40B4-BE49-F238E27FC236}">
                      <a16:creationId xmlns:a16="http://schemas.microsoft.com/office/drawing/2014/main" id="{71552FAB-24C8-B09B-1C4E-FE7C8F765D33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5533843" y="1781769"/>
                  <a:ext cx="259200" cy="489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3">
            <p14:nvContentPartPr>
              <p14:cNvPr id="20" name="Freihand 19">
                <a:extLst>
                  <a:ext uri="{FF2B5EF4-FFF2-40B4-BE49-F238E27FC236}">
                    <a16:creationId xmlns:a16="http://schemas.microsoft.com/office/drawing/2014/main" id="{B7D3CB69-9333-C8C5-30A2-01A8908BFF0F}"/>
                  </a:ext>
                </a:extLst>
              </p14:cNvPr>
              <p14:cNvContentPartPr/>
              <p14:nvPr/>
            </p14:nvContentPartPr>
            <p14:xfrm>
              <a:off x="6325123" y="1828569"/>
              <a:ext cx="161640" cy="247680"/>
            </p14:xfrm>
          </p:contentPart>
        </mc:Choice>
        <mc:Fallback>
          <p:pic>
            <p:nvPicPr>
              <p:cNvPr id="20" name="Freihand 19">
                <a:extLst>
                  <a:ext uri="{FF2B5EF4-FFF2-40B4-BE49-F238E27FC236}">
                    <a16:creationId xmlns:a16="http://schemas.microsoft.com/office/drawing/2014/main" id="{B7D3CB69-9333-C8C5-30A2-01A8908BFF0F}"/>
                  </a:ext>
                </a:extLst>
              </p:cNvPr>
              <p:cNvPicPr/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6307123" y="1810929"/>
                <a:ext cx="197280" cy="283320"/>
              </a:xfrm>
              <a:prstGeom prst="rect">
                <a:avLst/>
              </a:prstGeom>
            </p:spPr>
          </p:pic>
        </mc:Fallback>
      </mc:AlternateContent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0E9D249-5BE0-D5EE-4A67-8408962EAC67}"/>
              </a:ext>
            </a:extLst>
          </p:cNvPr>
          <p:cNvGrpSpPr/>
          <p:nvPr/>
        </p:nvGrpSpPr>
        <p:grpSpPr>
          <a:xfrm>
            <a:off x="7201003" y="1730289"/>
            <a:ext cx="272880" cy="258120"/>
            <a:chOff x="7201003" y="1730289"/>
            <a:chExt cx="272880" cy="258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21" name="Freihand 20">
                  <a:extLst>
                    <a:ext uri="{FF2B5EF4-FFF2-40B4-BE49-F238E27FC236}">
                      <a16:creationId xmlns:a16="http://schemas.microsoft.com/office/drawing/2014/main" id="{8DDFF29C-2D5B-BD11-E51D-1B82D0B32649}"/>
                    </a:ext>
                  </a:extLst>
                </p14:cNvPr>
                <p14:cNvContentPartPr/>
                <p14:nvPr/>
              </p14:nvContentPartPr>
              <p14:xfrm>
                <a:off x="7201003" y="1730289"/>
                <a:ext cx="207360" cy="258120"/>
              </p14:xfrm>
            </p:contentPart>
          </mc:Choice>
          <mc:Fallback>
            <p:pic>
              <p:nvPicPr>
                <p:cNvPr id="21" name="Freihand 20">
                  <a:extLst>
                    <a:ext uri="{FF2B5EF4-FFF2-40B4-BE49-F238E27FC236}">
                      <a16:creationId xmlns:a16="http://schemas.microsoft.com/office/drawing/2014/main" id="{8DDFF29C-2D5B-BD11-E51D-1B82D0B32649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7183003" y="1712649"/>
                  <a:ext cx="243000" cy="29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2" name="Freihand 21">
                  <a:extLst>
                    <a:ext uri="{FF2B5EF4-FFF2-40B4-BE49-F238E27FC236}">
                      <a16:creationId xmlns:a16="http://schemas.microsoft.com/office/drawing/2014/main" id="{F4DAC404-C167-0F9E-DF83-5594B53B6790}"/>
                    </a:ext>
                  </a:extLst>
                </p14:cNvPr>
                <p14:cNvContentPartPr/>
                <p14:nvPr/>
              </p14:nvContentPartPr>
              <p14:xfrm>
                <a:off x="7388203" y="1887609"/>
                <a:ext cx="85680" cy="7920"/>
              </p14:xfrm>
            </p:contentPart>
          </mc:Choice>
          <mc:Fallback>
            <p:pic>
              <p:nvPicPr>
                <p:cNvPr id="22" name="Freihand 21">
                  <a:extLst>
                    <a:ext uri="{FF2B5EF4-FFF2-40B4-BE49-F238E27FC236}">
                      <a16:creationId xmlns:a16="http://schemas.microsoft.com/office/drawing/2014/main" id="{F4DAC404-C167-0F9E-DF83-5594B53B6790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7370563" y="1869969"/>
                  <a:ext cx="121320" cy="43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9">
            <p14:nvContentPartPr>
              <p14:cNvPr id="23" name="Freihand 22">
                <a:extLst>
                  <a:ext uri="{FF2B5EF4-FFF2-40B4-BE49-F238E27FC236}">
                    <a16:creationId xmlns:a16="http://schemas.microsoft.com/office/drawing/2014/main" id="{A2403E83-7987-0E2E-9426-9C8F3546CD95}"/>
                  </a:ext>
                </a:extLst>
              </p14:cNvPr>
              <p14:cNvContentPartPr/>
              <p14:nvPr/>
            </p14:nvContentPartPr>
            <p14:xfrm>
              <a:off x="7988683" y="1796529"/>
              <a:ext cx="158400" cy="180000"/>
            </p14:xfrm>
          </p:contentPart>
        </mc:Choice>
        <mc:Fallback>
          <p:pic>
            <p:nvPicPr>
              <p:cNvPr id="23" name="Freihand 22">
                <a:extLst>
                  <a:ext uri="{FF2B5EF4-FFF2-40B4-BE49-F238E27FC236}">
                    <a16:creationId xmlns:a16="http://schemas.microsoft.com/office/drawing/2014/main" id="{A2403E83-7987-0E2E-9426-9C8F3546CD95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7970683" y="1778889"/>
                <a:ext cx="194040" cy="215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1">
            <p14:nvContentPartPr>
              <p14:cNvPr id="24" name="Freihand 23">
                <a:extLst>
                  <a:ext uri="{FF2B5EF4-FFF2-40B4-BE49-F238E27FC236}">
                    <a16:creationId xmlns:a16="http://schemas.microsoft.com/office/drawing/2014/main" id="{6940C07B-1B53-19D5-7A24-EBE0A4487A84}"/>
                  </a:ext>
                </a:extLst>
              </p14:cNvPr>
              <p14:cNvContentPartPr/>
              <p14:nvPr/>
            </p14:nvContentPartPr>
            <p14:xfrm>
              <a:off x="9026923" y="1818129"/>
              <a:ext cx="301680" cy="225360"/>
            </p14:xfrm>
          </p:contentPart>
        </mc:Choice>
        <mc:Fallback>
          <p:pic>
            <p:nvPicPr>
              <p:cNvPr id="24" name="Freihand 23">
                <a:extLst>
                  <a:ext uri="{FF2B5EF4-FFF2-40B4-BE49-F238E27FC236}">
                    <a16:creationId xmlns:a16="http://schemas.microsoft.com/office/drawing/2014/main" id="{6940C07B-1B53-19D5-7A24-EBE0A4487A84}"/>
                  </a:ext>
                </a:extLst>
              </p:cNvPr>
              <p:cNvPicPr/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9009283" y="1800129"/>
                <a:ext cx="337320" cy="261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3">
            <p14:nvContentPartPr>
              <p14:cNvPr id="26" name="Freihand 25">
                <a:extLst>
                  <a:ext uri="{FF2B5EF4-FFF2-40B4-BE49-F238E27FC236}">
                    <a16:creationId xmlns:a16="http://schemas.microsoft.com/office/drawing/2014/main" id="{E925004B-35E0-ED11-694F-CC3371B5C2B0}"/>
                  </a:ext>
                </a:extLst>
              </p14:cNvPr>
              <p14:cNvContentPartPr/>
              <p14:nvPr/>
            </p14:nvContentPartPr>
            <p14:xfrm>
              <a:off x="2652763" y="1893729"/>
              <a:ext cx="83880" cy="475920"/>
            </p14:xfrm>
          </p:contentPart>
        </mc:Choice>
        <mc:Fallback>
          <p:pic>
            <p:nvPicPr>
              <p:cNvPr id="26" name="Freihand 25">
                <a:extLst>
                  <a:ext uri="{FF2B5EF4-FFF2-40B4-BE49-F238E27FC236}">
                    <a16:creationId xmlns:a16="http://schemas.microsoft.com/office/drawing/2014/main" id="{E925004B-35E0-ED11-694F-CC3371B5C2B0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2598763" y="1786089"/>
                <a:ext cx="191520" cy="691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5">
            <p14:nvContentPartPr>
              <p14:cNvPr id="27" name="Freihand 26">
                <a:extLst>
                  <a:ext uri="{FF2B5EF4-FFF2-40B4-BE49-F238E27FC236}">
                    <a16:creationId xmlns:a16="http://schemas.microsoft.com/office/drawing/2014/main" id="{8AEDE5B4-509D-69CC-709A-F6D440CB5BEE}"/>
                  </a:ext>
                </a:extLst>
              </p14:cNvPr>
              <p14:cNvContentPartPr/>
              <p14:nvPr/>
            </p14:nvContentPartPr>
            <p14:xfrm>
              <a:off x="712363" y="5869209"/>
              <a:ext cx="6750360" cy="361440"/>
            </p14:xfrm>
          </p:contentPart>
        </mc:Choice>
        <mc:Fallback>
          <p:pic>
            <p:nvPicPr>
              <p:cNvPr id="27" name="Freihand 26">
                <a:extLst>
                  <a:ext uri="{FF2B5EF4-FFF2-40B4-BE49-F238E27FC236}">
                    <a16:creationId xmlns:a16="http://schemas.microsoft.com/office/drawing/2014/main" id="{8AEDE5B4-509D-69CC-709A-F6D440CB5BEE}"/>
                  </a:ext>
                </a:extLst>
              </p:cNvPr>
              <p:cNvPicPr/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658363" y="5761569"/>
                <a:ext cx="6858000" cy="57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944829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325B00-0D0F-B9CB-2A92-E10A0CC68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AC63B7D9-D467-A934-E6ED-77BDBB0A040A}"/>
              </a:ext>
            </a:extLst>
          </p:cNvPr>
          <p:cNvSpPr txBox="1"/>
          <p:nvPr/>
        </p:nvSpPr>
        <p:spPr>
          <a:xfrm>
            <a:off x="216354" y="815753"/>
            <a:ext cx="11148331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 err="1"/>
              <a:t>getAppointment</a:t>
            </a:r>
            <a:r>
              <a:rPr lang="de-DE" sz="1600" dirty="0"/>
              <a:t>(</a:t>
            </a:r>
            <a:r>
              <a:rPr lang="de-DE" sz="1600" dirty="0" err="1"/>
              <a:t>month</a:t>
            </a:r>
            <a:r>
              <a:rPr lang="de-DE" sz="1600" dirty="0"/>
              <a:t> : integer, </a:t>
            </a:r>
            <a:r>
              <a:rPr lang="de-DE" sz="1600" dirty="0" err="1"/>
              <a:t>day</a:t>
            </a:r>
            <a:r>
              <a:rPr lang="de-DE" sz="1600" dirty="0"/>
              <a:t> : integer, </a:t>
            </a:r>
            <a:r>
              <a:rPr lang="de-DE" sz="1600" dirty="0" err="1"/>
              <a:t>id</a:t>
            </a:r>
            <a:r>
              <a:rPr lang="de-DE" sz="1600" dirty="0"/>
              <a:t> : integer, </a:t>
            </a:r>
            <a:r>
              <a:rPr lang="de-DE" sz="1600" dirty="0" err="1"/>
              <a:t>time_slot</a:t>
            </a:r>
            <a:r>
              <a:rPr lang="de-DE" sz="1600" dirty="0"/>
              <a:t> : integer) : </a:t>
            </a:r>
            <a:r>
              <a:rPr lang="de-DE" sz="1600" dirty="0" err="1"/>
              <a:t>boolean</a:t>
            </a:r>
            <a:endParaRPr lang="de-DE" sz="1600" dirty="0"/>
          </a:p>
          <a:p>
            <a:endParaRPr lang="de-DE" sz="1600" dirty="0"/>
          </a:p>
          <a:p>
            <a:r>
              <a:rPr lang="de-DE" sz="1600" dirty="0"/>
              <a:t>Boolean </a:t>
            </a:r>
            <a:r>
              <a:rPr lang="de-DE" sz="1600" dirty="0" err="1"/>
              <a:t>treffer</a:t>
            </a:r>
            <a:r>
              <a:rPr lang="de-DE" sz="1600" dirty="0"/>
              <a:t> := </a:t>
            </a:r>
            <a:r>
              <a:rPr lang="de-DE" sz="1600" dirty="0" err="1"/>
              <a:t>false</a:t>
            </a:r>
            <a:endParaRPr lang="de-DE" sz="1600" dirty="0"/>
          </a:p>
          <a:p>
            <a:r>
              <a:rPr lang="de-DE" sz="1600" dirty="0"/>
              <a:t>INT[][]</a:t>
            </a:r>
            <a:r>
              <a:rPr lang="de-DE" sz="1600" dirty="0" err="1"/>
              <a:t>timeTableDoc</a:t>
            </a:r>
            <a:r>
              <a:rPr lang="de-DE" sz="1600" dirty="0"/>
              <a:t> := </a:t>
            </a:r>
            <a:r>
              <a:rPr lang="de-DE" sz="1600" dirty="0" err="1"/>
              <a:t>getTimeTable</a:t>
            </a:r>
            <a:r>
              <a:rPr lang="de-DE" sz="1600" dirty="0"/>
              <a:t>(</a:t>
            </a:r>
            <a:r>
              <a:rPr lang="de-DE" sz="1600" dirty="0" err="1"/>
              <a:t>id</a:t>
            </a:r>
            <a:r>
              <a:rPr lang="de-DE" sz="1600" dirty="0"/>
              <a:t>)</a:t>
            </a:r>
          </a:p>
          <a:p>
            <a:r>
              <a:rPr lang="de-DE" sz="1600" dirty="0"/>
              <a:t>FÜR i := 0; i &lt; </a:t>
            </a:r>
            <a:r>
              <a:rPr lang="de-DE" sz="1600" dirty="0" err="1"/>
              <a:t>timeTableDoc.length</a:t>
            </a:r>
            <a:r>
              <a:rPr lang="de-DE" sz="1600" dirty="0"/>
              <a:t>; i++</a:t>
            </a:r>
          </a:p>
          <a:p>
            <a:r>
              <a:rPr lang="de-DE" sz="1600" dirty="0"/>
              <a:t>	WENN(</a:t>
            </a:r>
            <a:r>
              <a:rPr lang="de-DE" sz="1600" dirty="0" err="1"/>
              <a:t>month</a:t>
            </a:r>
            <a:r>
              <a:rPr lang="de-DE" sz="1600" dirty="0"/>
              <a:t> = </a:t>
            </a:r>
            <a:r>
              <a:rPr lang="de-DE" sz="1600" dirty="0" err="1"/>
              <a:t>timeTableDoc</a:t>
            </a:r>
            <a:r>
              <a:rPr lang="de-DE" sz="1600" dirty="0"/>
              <a:t>[i][0] UND </a:t>
            </a:r>
            <a:r>
              <a:rPr lang="de-DE" sz="1600" dirty="0" err="1"/>
              <a:t>day</a:t>
            </a:r>
            <a:r>
              <a:rPr lang="de-DE" sz="1600" dirty="0"/>
              <a:t> = </a:t>
            </a:r>
            <a:r>
              <a:rPr lang="de-DE" sz="1600" dirty="0" err="1"/>
              <a:t>timeTableDoc</a:t>
            </a:r>
            <a:r>
              <a:rPr lang="de-DE" sz="1600" dirty="0"/>
              <a:t>[i][1]) DANN</a:t>
            </a:r>
          </a:p>
          <a:p>
            <a:r>
              <a:rPr lang="de-DE" sz="1600" dirty="0"/>
              <a:t>		WENN(</a:t>
            </a:r>
            <a:r>
              <a:rPr lang="de-DE" sz="1600" dirty="0" err="1"/>
              <a:t>time_slot</a:t>
            </a:r>
            <a:r>
              <a:rPr lang="de-DE" sz="1600" dirty="0"/>
              <a:t> = (-1)) DANN //</a:t>
            </a:r>
            <a:r>
              <a:rPr lang="de-DE" sz="1600" i="1" dirty="0"/>
              <a:t>wenn </a:t>
            </a:r>
            <a:r>
              <a:rPr lang="de-DE" sz="1600" i="1" dirty="0" err="1"/>
              <a:t>time_slot</a:t>
            </a:r>
            <a:r>
              <a:rPr lang="de-DE" sz="1600" i="1" dirty="0"/>
              <a:t> den Wert -1 hat</a:t>
            </a:r>
          </a:p>
          <a:p>
            <a:r>
              <a:rPr lang="de-DE" sz="1600" dirty="0"/>
              <a:t>			FÜR k := 2; k &lt; 10; k++</a:t>
            </a:r>
          </a:p>
          <a:p>
            <a:r>
              <a:rPr lang="de-DE" sz="1600" dirty="0"/>
              <a:t>				WENN(</a:t>
            </a:r>
            <a:r>
              <a:rPr lang="de-DE" sz="1600" dirty="0" err="1"/>
              <a:t>timeTableDoc</a:t>
            </a:r>
            <a:r>
              <a:rPr lang="de-DE" sz="1600" dirty="0"/>
              <a:t>[i][k] = 0) DANN</a:t>
            </a:r>
          </a:p>
          <a:p>
            <a:r>
              <a:rPr lang="de-DE" sz="1600" dirty="0"/>
              <a:t>					</a:t>
            </a:r>
            <a:r>
              <a:rPr lang="de-DE" sz="1600" dirty="0" err="1"/>
              <a:t>treffer</a:t>
            </a:r>
            <a:r>
              <a:rPr lang="de-DE" sz="1600" dirty="0"/>
              <a:t> := </a:t>
            </a:r>
            <a:r>
              <a:rPr lang="de-DE" sz="1600" dirty="0" err="1"/>
              <a:t>true</a:t>
            </a:r>
            <a:endParaRPr lang="de-DE" sz="1600" dirty="0"/>
          </a:p>
          <a:p>
            <a:r>
              <a:rPr lang="de-DE" sz="1600" dirty="0"/>
              <a:t>				ENDE WENN</a:t>
            </a:r>
          </a:p>
          <a:p>
            <a:r>
              <a:rPr lang="de-DE" sz="1600" dirty="0"/>
              <a:t>			ENDE k			</a:t>
            </a:r>
          </a:p>
          <a:p>
            <a:r>
              <a:rPr lang="de-DE" sz="1600" dirty="0"/>
              <a:t>		SONST</a:t>
            </a:r>
          </a:p>
          <a:p>
            <a:r>
              <a:rPr lang="de-DE" sz="1600" dirty="0"/>
              <a:t>			WENN(</a:t>
            </a:r>
            <a:r>
              <a:rPr lang="de-DE" sz="1600" dirty="0" err="1"/>
              <a:t>timeTableDoc</a:t>
            </a:r>
            <a:r>
              <a:rPr lang="de-DE" sz="1600" dirty="0"/>
              <a:t>[i][time_slot+2] = 0) DANN</a:t>
            </a:r>
          </a:p>
          <a:p>
            <a:r>
              <a:rPr lang="de-DE" sz="1600" dirty="0"/>
              <a:t>				</a:t>
            </a:r>
            <a:r>
              <a:rPr lang="de-DE" sz="1600" dirty="0" err="1"/>
              <a:t>treffer</a:t>
            </a:r>
            <a:r>
              <a:rPr lang="de-DE" sz="1600" dirty="0"/>
              <a:t> := </a:t>
            </a:r>
            <a:r>
              <a:rPr lang="de-DE" sz="1600" dirty="0" err="1"/>
              <a:t>true</a:t>
            </a:r>
            <a:endParaRPr lang="de-DE" sz="1600" dirty="0"/>
          </a:p>
          <a:p>
            <a:r>
              <a:rPr lang="de-DE" sz="1600" dirty="0"/>
              <a:t>			ENDE WENN</a:t>
            </a:r>
          </a:p>
          <a:p>
            <a:r>
              <a:rPr lang="de-DE" sz="1600" dirty="0"/>
              <a:t>		ENDE WENN</a:t>
            </a:r>
          </a:p>
          <a:p>
            <a:r>
              <a:rPr lang="de-DE" sz="1600" dirty="0"/>
              <a:t>	ENDE WENN</a:t>
            </a:r>
          </a:p>
          <a:p>
            <a:r>
              <a:rPr lang="de-DE" sz="1600" dirty="0"/>
              <a:t>ENDE i</a:t>
            </a:r>
          </a:p>
          <a:p>
            <a:r>
              <a:rPr lang="de-DE" sz="1600" dirty="0"/>
              <a:t>Rückgabe </a:t>
            </a:r>
            <a:r>
              <a:rPr lang="de-DE" sz="1600" dirty="0" err="1"/>
              <a:t>treffer</a:t>
            </a:r>
            <a:endParaRPr lang="de-DE" sz="1600" dirty="0"/>
          </a:p>
          <a:p>
            <a:r>
              <a:rPr lang="de-DE" sz="1600" dirty="0"/>
              <a:t>ENDE </a:t>
            </a:r>
            <a:r>
              <a:rPr lang="de-DE" sz="1600" dirty="0" err="1"/>
              <a:t>getAppointment</a:t>
            </a:r>
            <a:endParaRPr lang="de-DE" sz="1600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05BF79C-6FB3-3FFA-B28C-4A560E457E23}"/>
              </a:ext>
            </a:extLst>
          </p:cNvPr>
          <p:cNvGrpSpPr/>
          <p:nvPr/>
        </p:nvGrpSpPr>
        <p:grpSpPr>
          <a:xfrm>
            <a:off x="3436843" y="1151049"/>
            <a:ext cx="818280" cy="499320"/>
            <a:chOff x="3436843" y="1151049"/>
            <a:chExt cx="818280" cy="499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">
              <p14:nvContentPartPr>
                <p14:cNvPr id="4" name="Freihand 3">
                  <a:extLst>
                    <a:ext uri="{FF2B5EF4-FFF2-40B4-BE49-F238E27FC236}">
                      <a16:creationId xmlns:a16="http://schemas.microsoft.com/office/drawing/2014/main" id="{A952222B-E039-3093-7ABC-24040C51CBB1}"/>
                    </a:ext>
                  </a:extLst>
                </p14:cNvPr>
                <p14:cNvContentPartPr/>
                <p14:nvPr/>
              </p14:nvContentPartPr>
              <p14:xfrm>
                <a:off x="3500923" y="1151049"/>
                <a:ext cx="754200" cy="433080"/>
              </p14:xfrm>
            </p:contentPart>
          </mc:Choice>
          <mc:Fallback>
            <p:pic>
              <p:nvPicPr>
                <p:cNvPr id="4" name="Freihand 3">
                  <a:extLst>
                    <a:ext uri="{FF2B5EF4-FFF2-40B4-BE49-F238E27FC236}">
                      <a16:creationId xmlns:a16="http://schemas.microsoft.com/office/drawing/2014/main" id="{A952222B-E039-3093-7ABC-24040C51CBB1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482923" y="1133049"/>
                  <a:ext cx="789840" cy="46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5" name="Freihand 4">
                  <a:extLst>
                    <a:ext uri="{FF2B5EF4-FFF2-40B4-BE49-F238E27FC236}">
                      <a16:creationId xmlns:a16="http://schemas.microsoft.com/office/drawing/2014/main" id="{358CDB6A-2D97-6A68-6B24-EB7E2D614B3D}"/>
                    </a:ext>
                  </a:extLst>
                </p14:cNvPr>
                <p14:cNvContentPartPr/>
                <p14:nvPr/>
              </p14:nvContentPartPr>
              <p14:xfrm>
                <a:off x="3436843" y="1461009"/>
                <a:ext cx="240480" cy="189360"/>
              </p14:xfrm>
            </p:contentPart>
          </mc:Choice>
          <mc:Fallback>
            <p:pic>
              <p:nvPicPr>
                <p:cNvPr id="5" name="Freihand 4">
                  <a:extLst>
                    <a:ext uri="{FF2B5EF4-FFF2-40B4-BE49-F238E27FC236}">
                      <a16:creationId xmlns:a16="http://schemas.microsoft.com/office/drawing/2014/main" id="{358CDB6A-2D97-6A68-6B24-EB7E2D614B3D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419203" y="1443369"/>
                  <a:ext cx="276120" cy="225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625BFD1-CDBA-B507-F2E7-E2BE2F1F6D6F}"/>
              </a:ext>
            </a:extLst>
          </p:cNvPr>
          <p:cNvGrpSpPr/>
          <p:nvPr/>
        </p:nvGrpSpPr>
        <p:grpSpPr>
          <a:xfrm>
            <a:off x="5568043" y="595929"/>
            <a:ext cx="165240" cy="233640"/>
            <a:chOff x="5568043" y="595929"/>
            <a:chExt cx="165240" cy="2336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7" name="Freihand 6">
                  <a:extLst>
                    <a:ext uri="{FF2B5EF4-FFF2-40B4-BE49-F238E27FC236}">
                      <a16:creationId xmlns:a16="http://schemas.microsoft.com/office/drawing/2014/main" id="{6F686242-647F-63F6-33BD-C0F761C2E172}"/>
                    </a:ext>
                  </a:extLst>
                </p14:cNvPr>
                <p14:cNvContentPartPr/>
                <p14:nvPr/>
              </p14:nvContentPartPr>
              <p14:xfrm>
                <a:off x="5651203" y="595929"/>
                <a:ext cx="6840" cy="158040"/>
              </p14:xfrm>
            </p:contentPart>
          </mc:Choice>
          <mc:Fallback>
            <p:pic>
              <p:nvPicPr>
                <p:cNvPr id="7" name="Freihand 6">
                  <a:extLst>
                    <a:ext uri="{FF2B5EF4-FFF2-40B4-BE49-F238E27FC236}">
                      <a16:creationId xmlns:a16="http://schemas.microsoft.com/office/drawing/2014/main" id="{6F686242-647F-63F6-33BD-C0F761C2E172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633563" y="578289"/>
                  <a:ext cx="42480" cy="19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8" name="Freihand 7">
                  <a:extLst>
                    <a:ext uri="{FF2B5EF4-FFF2-40B4-BE49-F238E27FC236}">
                      <a16:creationId xmlns:a16="http://schemas.microsoft.com/office/drawing/2014/main" id="{7424E48D-2B44-B8ED-4A60-95C98D23A83B}"/>
                    </a:ext>
                  </a:extLst>
                </p14:cNvPr>
                <p14:cNvContentPartPr/>
                <p14:nvPr/>
              </p14:nvContentPartPr>
              <p14:xfrm>
                <a:off x="5568043" y="681249"/>
                <a:ext cx="165240" cy="148320"/>
              </p14:xfrm>
            </p:contentPart>
          </mc:Choice>
          <mc:Fallback>
            <p:pic>
              <p:nvPicPr>
                <p:cNvPr id="8" name="Freihand 7">
                  <a:extLst>
                    <a:ext uri="{FF2B5EF4-FFF2-40B4-BE49-F238E27FC236}">
                      <a16:creationId xmlns:a16="http://schemas.microsoft.com/office/drawing/2014/main" id="{7424E48D-2B44-B8ED-4A60-95C98D23A83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550043" y="663249"/>
                  <a:ext cx="200880" cy="183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F3157E6-53C8-4B6F-E0CC-1316F08A19ED}"/>
              </a:ext>
            </a:extLst>
          </p:cNvPr>
          <p:cNvGrpSpPr/>
          <p:nvPr/>
        </p:nvGrpSpPr>
        <p:grpSpPr>
          <a:xfrm>
            <a:off x="5494243" y="246009"/>
            <a:ext cx="503280" cy="167400"/>
            <a:chOff x="5494243" y="246009"/>
            <a:chExt cx="503280" cy="167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1D50B3F9-78A1-8A74-BF7F-F791DBCA894D}"/>
                    </a:ext>
                  </a:extLst>
                </p14:cNvPr>
                <p14:cNvContentPartPr/>
                <p14:nvPr/>
              </p14:nvContentPartPr>
              <p14:xfrm>
                <a:off x="5494243" y="342849"/>
                <a:ext cx="143640" cy="25560"/>
              </p14:xfrm>
            </p:contentPart>
          </mc:Choice>
          <mc:Fallback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1D50B3F9-78A1-8A74-BF7F-F791DBCA894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476603" y="324849"/>
                  <a:ext cx="17928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10" name="Freihand 9">
                  <a:extLst>
                    <a:ext uri="{FF2B5EF4-FFF2-40B4-BE49-F238E27FC236}">
                      <a16:creationId xmlns:a16="http://schemas.microsoft.com/office/drawing/2014/main" id="{4D430CAF-D322-3C0E-916C-5002B3585458}"/>
                    </a:ext>
                  </a:extLst>
                </p14:cNvPr>
                <p14:cNvContentPartPr/>
                <p14:nvPr/>
              </p14:nvContentPartPr>
              <p14:xfrm>
                <a:off x="5772163" y="246009"/>
                <a:ext cx="225360" cy="167400"/>
              </p14:xfrm>
            </p:contentPart>
          </mc:Choice>
          <mc:Fallback>
            <p:pic>
              <p:nvPicPr>
                <p:cNvPr id="10" name="Freihand 9">
                  <a:extLst>
                    <a:ext uri="{FF2B5EF4-FFF2-40B4-BE49-F238E27FC236}">
                      <a16:creationId xmlns:a16="http://schemas.microsoft.com/office/drawing/2014/main" id="{4D430CAF-D322-3C0E-916C-5002B3585458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754163" y="228369"/>
                  <a:ext cx="261000" cy="2030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D501ECA4-1D66-CEF6-BB2D-EA5E66647FB1}"/>
                  </a:ext>
                </a:extLst>
              </p14:cNvPr>
              <p14:cNvContentPartPr/>
              <p14:nvPr/>
            </p14:nvContentPartPr>
            <p14:xfrm>
              <a:off x="3035803" y="3998649"/>
              <a:ext cx="3927600" cy="696600"/>
            </p14:xfrm>
          </p:contentPart>
        </mc:Choice>
        <mc:Fallback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D501ECA4-1D66-CEF6-BB2D-EA5E66647FB1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981803" y="3890649"/>
                <a:ext cx="4035240" cy="912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8B4D7B05-379C-E6CA-28BF-123E4385FAB8}"/>
                  </a:ext>
                </a:extLst>
              </p14:cNvPr>
              <p14:cNvContentPartPr/>
              <p14:nvPr/>
            </p14:nvContentPartPr>
            <p14:xfrm>
              <a:off x="1195483" y="1410249"/>
              <a:ext cx="1033560" cy="108720"/>
            </p14:xfrm>
          </p:contentPart>
        </mc:Choice>
        <mc:Fallback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8B4D7B05-379C-E6CA-28BF-123E4385FAB8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141843" y="1302249"/>
                <a:ext cx="1141200" cy="324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8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B7B916C4-A1DD-703F-B81D-41D4B8BAA152}"/>
                  </a:ext>
                </a:extLst>
              </p14:cNvPr>
              <p14:cNvContentPartPr/>
              <p14:nvPr/>
            </p14:nvContentPartPr>
            <p14:xfrm>
              <a:off x="2029603" y="2440209"/>
              <a:ext cx="5155560" cy="1276200"/>
            </p14:xfrm>
          </p:contentPart>
        </mc:Choice>
        <mc:Fallback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B7B916C4-A1DD-703F-B81D-41D4B8BAA152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975963" y="2332209"/>
                <a:ext cx="5263200" cy="1491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845002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6E0FB8-B8F7-61FC-F84E-B4462CDC27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2AA22178-2379-2837-34C9-13B48BC77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95" y="34010"/>
            <a:ext cx="8889784" cy="6798864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E4E18854-34EA-5C97-60DD-536BD3F67C23}"/>
              </a:ext>
            </a:extLst>
          </p:cNvPr>
          <p:cNvSpPr txBox="1"/>
          <p:nvPr/>
        </p:nvSpPr>
        <p:spPr>
          <a:xfrm>
            <a:off x="9111343" y="1681843"/>
            <a:ext cx="2449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ufgabe bis 12:05 Uhr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EB6591C8-767B-72C5-56FB-356EDEDFD05B}"/>
              </a:ext>
            </a:extLst>
          </p:cNvPr>
          <p:cNvCxnSpPr/>
          <p:nvPr/>
        </p:nvCxnSpPr>
        <p:spPr>
          <a:xfrm>
            <a:off x="3992336" y="6498771"/>
            <a:ext cx="2179864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F1F4DAE0-CB44-3245-BAD9-16F2F230EEE8}"/>
                  </a:ext>
                </a:extLst>
              </p14:cNvPr>
              <p14:cNvContentPartPr/>
              <p14:nvPr/>
            </p14:nvContentPartPr>
            <p14:xfrm>
              <a:off x="220603" y="5883249"/>
              <a:ext cx="3953880" cy="12564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F1F4DAE0-CB44-3245-BAD9-16F2F230EEE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66603" y="5775609"/>
                <a:ext cx="4061520" cy="34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CFD0E2AB-EE12-C7D8-7BC8-16D55C8FE01F}"/>
                  </a:ext>
                </a:extLst>
              </p14:cNvPr>
              <p14:cNvContentPartPr/>
              <p14:nvPr/>
            </p14:nvContentPartPr>
            <p14:xfrm>
              <a:off x="995683" y="2285409"/>
              <a:ext cx="4959000" cy="156240"/>
            </p14:xfrm>
          </p:contentPart>
        </mc:Choice>
        <mc:Fallback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CFD0E2AB-EE12-C7D8-7BC8-16D55C8FE01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2043" y="2177409"/>
                <a:ext cx="5066640" cy="3718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871931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EE54B-0EF7-49B4-A493-A56A0C7A99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B57A1F37-97D2-00F1-C43C-48768157F01D}"/>
              </a:ext>
            </a:extLst>
          </p:cNvPr>
          <p:cNvSpPr txBox="1"/>
          <p:nvPr/>
        </p:nvSpPr>
        <p:spPr>
          <a:xfrm>
            <a:off x="354693" y="151179"/>
            <a:ext cx="6147706" cy="655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 err="1"/>
              <a:t>funktion</a:t>
            </a:r>
            <a:r>
              <a:rPr lang="de-DE" sz="1400" dirty="0"/>
              <a:t> </a:t>
            </a:r>
            <a:r>
              <a:rPr lang="de-DE" sz="1400" dirty="0" err="1"/>
              <a:t>pruefelID</a:t>
            </a:r>
            <a:r>
              <a:rPr lang="de-DE" sz="1400" dirty="0"/>
              <a:t>(</a:t>
            </a:r>
            <a:r>
              <a:rPr lang="de-DE" sz="1400" dirty="0" err="1"/>
              <a:t>idCardNummer</a:t>
            </a:r>
            <a:r>
              <a:rPr lang="de-DE" sz="1400" dirty="0"/>
              <a:t>: String) -&gt; Boolean</a:t>
            </a:r>
            <a:br>
              <a:rPr lang="de-DE" sz="1400" dirty="0"/>
            </a:br>
            <a:r>
              <a:rPr lang="de-DE" sz="1400" dirty="0" err="1"/>
              <a:t>Int</a:t>
            </a:r>
            <a:r>
              <a:rPr lang="de-DE" sz="1400" dirty="0"/>
              <a:t> sum1 := 0</a:t>
            </a:r>
          </a:p>
          <a:p>
            <a:r>
              <a:rPr lang="de-DE" sz="1400" dirty="0" err="1"/>
              <a:t>Int</a:t>
            </a:r>
            <a:r>
              <a:rPr lang="de-DE" sz="1400" dirty="0"/>
              <a:t> sum2 := 0</a:t>
            </a:r>
          </a:p>
          <a:p>
            <a:r>
              <a:rPr lang="de-DE" sz="1400" dirty="0" err="1"/>
              <a:t>Int</a:t>
            </a:r>
            <a:r>
              <a:rPr lang="de-DE" sz="1400" dirty="0"/>
              <a:t> </a:t>
            </a:r>
            <a:r>
              <a:rPr lang="de-DE" sz="1400" dirty="0" err="1"/>
              <a:t>ziffer</a:t>
            </a:r>
            <a:r>
              <a:rPr lang="de-DE" sz="1400" dirty="0"/>
              <a:t> := 0</a:t>
            </a:r>
          </a:p>
          <a:p>
            <a:r>
              <a:rPr lang="de-DE" sz="1400" dirty="0" err="1"/>
              <a:t>string</a:t>
            </a:r>
            <a:r>
              <a:rPr lang="de-DE" sz="1400" dirty="0"/>
              <a:t> stelle = ‘ ‘</a:t>
            </a:r>
          </a:p>
          <a:p>
            <a:endParaRPr lang="de-DE" sz="1400" dirty="0"/>
          </a:p>
          <a:p>
            <a:r>
              <a:rPr lang="de-DE" sz="1400" dirty="0"/>
              <a:t>FÜR i von 1 bis </a:t>
            </a:r>
            <a:r>
              <a:rPr lang="de-DE" sz="1400" dirty="0" err="1"/>
              <a:t>Laenge</a:t>
            </a:r>
            <a:r>
              <a:rPr lang="de-DE" sz="1400" dirty="0"/>
              <a:t>(</a:t>
            </a:r>
            <a:r>
              <a:rPr lang="de-DE" sz="1400" dirty="0" err="1"/>
              <a:t>id</a:t>
            </a:r>
            <a:r>
              <a:rPr lang="de-DE" sz="1400" dirty="0"/>
              <a:t>) – 1</a:t>
            </a:r>
          </a:p>
          <a:p>
            <a:r>
              <a:rPr lang="de-DE" sz="1400" dirty="0"/>
              <a:t>	stelle := Zeichen an der Stelle i von </a:t>
            </a:r>
            <a:r>
              <a:rPr lang="de-DE" sz="1400" dirty="0" err="1"/>
              <a:t>id</a:t>
            </a:r>
            <a:endParaRPr lang="de-DE" sz="1400" dirty="0"/>
          </a:p>
          <a:p>
            <a:r>
              <a:rPr lang="de-DE" sz="1400" dirty="0"/>
              <a:t>	</a:t>
            </a:r>
            <a:r>
              <a:rPr lang="de-DE" sz="1400" dirty="0" err="1"/>
              <a:t>ziffer</a:t>
            </a:r>
            <a:r>
              <a:rPr lang="de-DE" sz="1400" dirty="0"/>
              <a:t> := wandle stelle in Zahl //</a:t>
            </a:r>
            <a:r>
              <a:rPr lang="de-DE" sz="1400" i="1" dirty="0" err="1"/>
              <a:t>charToInt</a:t>
            </a:r>
            <a:endParaRPr lang="de-DE" sz="1400" i="1" dirty="0"/>
          </a:p>
          <a:p>
            <a:r>
              <a:rPr lang="de-DE" sz="1400" dirty="0"/>
              <a:t>	WENN (i </a:t>
            </a:r>
            <a:r>
              <a:rPr lang="de-DE" sz="1400" dirty="0" err="1"/>
              <a:t>modulo</a:t>
            </a:r>
            <a:r>
              <a:rPr lang="de-DE" sz="1400" dirty="0"/>
              <a:t>(2) = 1) DANN</a:t>
            </a:r>
          </a:p>
          <a:p>
            <a:r>
              <a:rPr lang="de-DE" sz="1400" dirty="0"/>
              <a:t>		</a:t>
            </a:r>
            <a:r>
              <a:rPr lang="de-DE" sz="1400" dirty="0" err="1"/>
              <a:t>ziffer</a:t>
            </a:r>
            <a:r>
              <a:rPr lang="de-DE" sz="1400" dirty="0"/>
              <a:t> := </a:t>
            </a:r>
            <a:r>
              <a:rPr lang="de-DE" sz="1400" dirty="0" err="1"/>
              <a:t>ziffer</a:t>
            </a:r>
            <a:r>
              <a:rPr lang="de-DE" sz="1400" dirty="0"/>
              <a:t> * 2</a:t>
            </a:r>
          </a:p>
          <a:p>
            <a:r>
              <a:rPr lang="de-DE" sz="1400" dirty="0"/>
              <a:t>		WENN </a:t>
            </a:r>
            <a:r>
              <a:rPr lang="de-DE" sz="1400" dirty="0" err="1"/>
              <a:t>ziffer</a:t>
            </a:r>
            <a:r>
              <a:rPr lang="de-DE" sz="1400" dirty="0"/>
              <a:t> &gt; 9 DANN</a:t>
            </a:r>
          </a:p>
          <a:p>
            <a:r>
              <a:rPr lang="de-DE" sz="1400" dirty="0"/>
              <a:t>			</a:t>
            </a:r>
            <a:r>
              <a:rPr lang="de-DE" sz="1400" dirty="0" err="1"/>
              <a:t>ziffer</a:t>
            </a:r>
            <a:r>
              <a:rPr lang="de-DE" sz="1400" dirty="0"/>
              <a:t> := </a:t>
            </a:r>
            <a:r>
              <a:rPr lang="de-DE" sz="1400" dirty="0" err="1"/>
              <a:t>ziffer</a:t>
            </a:r>
            <a:r>
              <a:rPr lang="de-DE" sz="1400" dirty="0"/>
              <a:t> – 9</a:t>
            </a:r>
          </a:p>
          <a:p>
            <a:r>
              <a:rPr lang="de-DE" sz="1400" dirty="0"/>
              <a:t>		ENDE WENN</a:t>
            </a:r>
          </a:p>
          <a:p>
            <a:r>
              <a:rPr lang="de-DE" sz="1400" dirty="0"/>
              <a:t>	ENDE WENN</a:t>
            </a:r>
          </a:p>
          <a:p>
            <a:r>
              <a:rPr lang="de-DE" sz="1400" dirty="0"/>
              <a:t>	sum1 := sum1 + </a:t>
            </a:r>
            <a:r>
              <a:rPr lang="de-DE" sz="1400" dirty="0" err="1"/>
              <a:t>ziffer</a:t>
            </a:r>
            <a:r>
              <a:rPr lang="de-DE" sz="1400" dirty="0"/>
              <a:t> </a:t>
            </a:r>
          </a:p>
          <a:p>
            <a:r>
              <a:rPr lang="de-DE" sz="1400" dirty="0"/>
              <a:t>ENDE FÜR</a:t>
            </a:r>
          </a:p>
          <a:p>
            <a:endParaRPr lang="de-DE" sz="1400" dirty="0"/>
          </a:p>
          <a:p>
            <a:r>
              <a:rPr lang="de-DE" sz="1400" dirty="0"/>
              <a:t>WENN sum1 </a:t>
            </a:r>
            <a:r>
              <a:rPr lang="de-DE" sz="1400" dirty="0" err="1"/>
              <a:t>modulo</a:t>
            </a:r>
            <a:r>
              <a:rPr lang="de-DE" sz="1400" dirty="0"/>
              <a:t>(10) &lt;&gt; 0 DANN</a:t>
            </a:r>
          </a:p>
          <a:p>
            <a:r>
              <a:rPr lang="de-DE" sz="1400" dirty="0"/>
              <a:t>	sum2 := sum1 + 10 – (sum1 </a:t>
            </a:r>
            <a:r>
              <a:rPr lang="de-DE" sz="1400" dirty="0" err="1"/>
              <a:t>modulo</a:t>
            </a:r>
            <a:r>
              <a:rPr lang="de-DE" sz="1400" dirty="0"/>
              <a:t>(10))</a:t>
            </a:r>
          </a:p>
          <a:p>
            <a:r>
              <a:rPr lang="de-DE" sz="1400" dirty="0"/>
              <a:t>	SONST</a:t>
            </a:r>
          </a:p>
          <a:p>
            <a:r>
              <a:rPr lang="de-DE" sz="1400" dirty="0"/>
              <a:t>	sum2 := sum1</a:t>
            </a:r>
          </a:p>
          <a:p>
            <a:r>
              <a:rPr lang="de-DE" sz="1400" dirty="0"/>
              <a:t>ENDE WENN</a:t>
            </a:r>
          </a:p>
          <a:p>
            <a:r>
              <a:rPr lang="de-DE" sz="1400" dirty="0"/>
              <a:t>stelle := Zeichen an der Stelle </a:t>
            </a:r>
            <a:r>
              <a:rPr lang="de-DE" sz="1400" dirty="0" err="1"/>
              <a:t>Laenge</a:t>
            </a:r>
            <a:r>
              <a:rPr lang="de-DE" sz="1400" dirty="0"/>
              <a:t>(</a:t>
            </a:r>
            <a:r>
              <a:rPr lang="de-DE" sz="1400" dirty="0" err="1"/>
              <a:t>id</a:t>
            </a:r>
            <a:r>
              <a:rPr lang="de-DE" sz="1400" dirty="0"/>
              <a:t>) </a:t>
            </a:r>
          </a:p>
          <a:p>
            <a:r>
              <a:rPr lang="de-DE" sz="1400" dirty="0" err="1"/>
              <a:t>ziffer</a:t>
            </a:r>
            <a:r>
              <a:rPr lang="de-DE" sz="1400" dirty="0"/>
              <a:t> := wandle stelle in Zahl // </a:t>
            </a:r>
            <a:r>
              <a:rPr lang="de-DE" sz="1400" i="1" dirty="0" err="1"/>
              <a:t>charToInt</a:t>
            </a:r>
            <a:endParaRPr lang="de-DE" sz="1400" i="1" dirty="0"/>
          </a:p>
          <a:p>
            <a:r>
              <a:rPr lang="de-DE" sz="1400" dirty="0"/>
              <a:t>WENN (sum2 – sum1 = </a:t>
            </a:r>
            <a:r>
              <a:rPr lang="de-DE" sz="1400" dirty="0" err="1"/>
              <a:t>ziffer</a:t>
            </a:r>
            <a:r>
              <a:rPr lang="de-DE" sz="1400" dirty="0"/>
              <a:t>) DANN</a:t>
            </a:r>
          </a:p>
          <a:p>
            <a:r>
              <a:rPr lang="de-DE" sz="1400" dirty="0"/>
              <a:t>	Rückgabe </a:t>
            </a:r>
            <a:r>
              <a:rPr lang="de-DE" sz="1400" dirty="0" err="1"/>
              <a:t>true</a:t>
            </a:r>
            <a:endParaRPr lang="de-DE" sz="1400" dirty="0"/>
          </a:p>
          <a:p>
            <a:r>
              <a:rPr lang="de-DE" sz="1400" dirty="0"/>
              <a:t>SONST</a:t>
            </a:r>
          </a:p>
          <a:p>
            <a:r>
              <a:rPr lang="de-DE" sz="1400" dirty="0"/>
              <a:t>	Rückgabe </a:t>
            </a:r>
            <a:r>
              <a:rPr lang="de-DE" sz="1400" dirty="0" err="1"/>
              <a:t>false</a:t>
            </a:r>
            <a:endParaRPr lang="de-DE" sz="1400" dirty="0"/>
          </a:p>
          <a:p>
            <a:r>
              <a:rPr lang="de-DE" sz="1400" dirty="0"/>
              <a:t>ENDE WEN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D2F251-C5C6-9027-BCF0-38C4ECFFC2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2035" y="734990"/>
            <a:ext cx="1629002" cy="41915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48177F90-1CEA-61F3-4C2C-BD119762DB83}"/>
                  </a:ext>
                </a:extLst>
              </p14:cNvPr>
              <p14:cNvContentPartPr/>
              <p14:nvPr/>
            </p14:nvContentPartPr>
            <p14:xfrm>
              <a:off x="6702763" y="984369"/>
              <a:ext cx="3600" cy="3600"/>
            </p14:xfrm>
          </p:contentPart>
        </mc:Choice>
        <mc:Fallback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48177F90-1CEA-61F3-4C2C-BD119762DB8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649123" y="876729"/>
                <a:ext cx="111240" cy="2192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8575984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C52D1E5-A3F1-4C49-99C5-2E71BEBF58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1141292"/>
            <a:ext cx="9906000" cy="457541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Freihand 1">
                <a:extLst>
                  <a:ext uri="{FF2B5EF4-FFF2-40B4-BE49-F238E27FC236}">
                    <a16:creationId xmlns:a16="http://schemas.microsoft.com/office/drawing/2014/main" id="{A8C6676D-7A26-12BB-A8B7-CCE719D48128}"/>
                  </a:ext>
                </a:extLst>
              </p14:cNvPr>
              <p14:cNvContentPartPr/>
              <p14:nvPr/>
            </p14:nvContentPartPr>
            <p14:xfrm>
              <a:off x="10001894" y="2517145"/>
              <a:ext cx="382680" cy="307080"/>
            </p14:xfrm>
          </p:contentPart>
        </mc:Choice>
        <mc:Fallback xmlns="">
          <p:pic>
            <p:nvPicPr>
              <p:cNvPr id="2" name="Freihand 1">
                <a:extLst>
                  <a:ext uri="{FF2B5EF4-FFF2-40B4-BE49-F238E27FC236}">
                    <a16:creationId xmlns:a16="http://schemas.microsoft.com/office/drawing/2014/main" id="{A8C6676D-7A26-12BB-A8B7-CCE719D4812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948254" y="2409505"/>
                <a:ext cx="490320" cy="52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57F64DDD-F580-E39A-658A-A1C7DEE29F72}"/>
                  </a:ext>
                </a:extLst>
              </p14:cNvPr>
              <p14:cNvContentPartPr/>
              <p14:nvPr/>
            </p14:nvContentPartPr>
            <p14:xfrm>
              <a:off x="7962134" y="2884345"/>
              <a:ext cx="1490040" cy="1090080"/>
            </p14:xfrm>
          </p:contentPart>
        </mc:Choice>
        <mc:Fallback xmlns=""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57F64DDD-F580-E39A-658A-A1C7DEE29F72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908494" y="2776705"/>
                <a:ext cx="1597680" cy="130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1F1A9084-CC51-E364-991C-CA215E17E1B3}"/>
                  </a:ext>
                </a:extLst>
              </p14:cNvPr>
              <p14:cNvContentPartPr/>
              <p14:nvPr/>
            </p14:nvContentPartPr>
            <p14:xfrm>
              <a:off x="7278854" y="3277105"/>
              <a:ext cx="281160" cy="1058400"/>
            </p14:xfrm>
          </p:contentPart>
        </mc:Choice>
        <mc:Fallback xmlns=""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1F1A9084-CC51-E364-991C-CA215E17E1B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25214" y="3169465"/>
                <a:ext cx="388800" cy="1274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2BEF78CC-621B-2FF5-DFF8-B7014B7E45EC}"/>
                  </a:ext>
                </a:extLst>
              </p14:cNvPr>
              <p14:cNvContentPartPr/>
              <p14:nvPr/>
            </p14:nvContentPartPr>
            <p14:xfrm>
              <a:off x="5739854" y="3276025"/>
              <a:ext cx="1192680" cy="6717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2BEF78CC-621B-2FF5-DFF8-B7014B7E45EC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685854" y="3168025"/>
                <a:ext cx="1300320" cy="887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324922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234E6-8325-489F-6B2C-B5D06D902D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AED9130A-A114-1908-1095-794A70E77392}"/>
              </a:ext>
            </a:extLst>
          </p:cNvPr>
          <p:cNvSpPr txBox="1"/>
          <p:nvPr/>
        </p:nvSpPr>
        <p:spPr>
          <a:xfrm>
            <a:off x="6147706" y="411233"/>
            <a:ext cx="6147706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4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gesamtSumme</a:t>
            </a:r>
            <a:r>
              <a:rPr lang="de-DE" sz="1600" dirty="0"/>
              <a:t> = </a:t>
            </a:r>
            <a:r>
              <a:rPr lang="de-DE" sz="1600" dirty="0" err="1"/>
              <a:t>quersummenSumme</a:t>
            </a:r>
            <a:r>
              <a:rPr lang="de-DE" sz="1600" dirty="0"/>
              <a:t> + </a:t>
            </a:r>
            <a:r>
              <a:rPr lang="de-DE" sz="1600" dirty="0" err="1"/>
              <a:t>geradeSumm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5: </a:t>
            </a:r>
            <a:br>
              <a:rPr lang="de-DE" sz="1600" dirty="0"/>
            </a:br>
            <a:r>
              <a:rPr lang="de-DE" sz="1600" dirty="0"/>
              <a:t>    aufgerundet = </a:t>
            </a:r>
            <a:r>
              <a:rPr lang="de-DE" sz="1600" dirty="0" err="1"/>
              <a:t>gesamtSumme</a:t>
            </a:r>
            <a:br>
              <a:rPr lang="de-DE" sz="1600" dirty="0"/>
            </a:br>
            <a:r>
              <a:rPr lang="de-DE" sz="1600" dirty="0"/>
              <a:t>    wenn </a:t>
            </a:r>
            <a:r>
              <a:rPr lang="de-DE" sz="1600" dirty="0" err="1"/>
              <a:t>gesamtSumme</a:t>
            </a:r>
            <a:r>
              <a:rPr lang="de-DE" sz="1600" dirty="0"/>
              <a:t> </a:t>
            </a:r>
            <a:r>
              <a:rPr lang="de-DE" sz="1600" dirty="0" err="1"/>
              <a:t>mod</a:t>
            </a:r>
            <a:r>
              <a:rPr lang="de-DE" sz="1600" dirty="0"/>
              <a:t> 10 != 0</a:t>
            </a:r>
            <a:br>
              <a:rPr lang="de-DE" sz="1600" dirty="0"/>
            </a:br>
            <a:r>
              <a:rPr lang="de-DE" sz="1600" dirty="0"/>
              <a:t>        aufgerundet = </a:t>
            </a:r>
            <a:r>
              <a:rPr lang="de-DE" sz="1600" dirty="0" err="1"/>
              <a:t>gesamtSumme</a:t>
            </a:r>
            <a:r>
              <a:rPr lang="de-DE" sz="1600" dirty="0"/>
              <a:t> + (10 - (</a:t>
            </a:r>
            <a:r>
              <a:rPr lang="de-DE" sz="1600" dirty="0" err="1"/>
              <a:t>gesamtSumme</a:t>
            </a:r>
            <a:r>
              <a:rPr lang="de-DE" sz="1600" dirty="0"/>
              <a:t> </a:t>
            </a:r>
            <a:r>
              <a:rPr lang="de-DE" sz="1600" dirty="0" err="1"/>
              <a:t>mod</a:t>
            </a:r>
            <a:r>
              <a:rPr lang="de-DE" sz="1600" dirty="0"/>
              <a:t> 10))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6: 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pruefziffer</a:t>
            </a:r>
            <a:r>
              <a:rPr lang="de-DE" sz="1600" dirty="0"/>
              <a:t> = aufgerundet - </a:t>
            </a:r>
            <a:r>
              <a:rPr lang="de-DE" sz="1600" dirty="0" err="1"/>
              <a:t>gesamtSumm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Vergleiche die letzte Ziffer der ID mit der berechneten Prüfziffer</a:t>
            </a:r>
            <a:br>
              <a:rPr lang="de-DE" sz="1600" dirty="0"/>
            </a:br>
            <a:r>
              <a:rPr lang="de-DE" sz="1600" dirty="0"/>
              <a:t>    wenn </a:t>
            </a:r>
            <a:r>
              <a:rPr lang="de-DE" sz="1600" dirty="0" err="1"/>
              <a:t>pruefziffer</a:t>
            </a:r>
            <a:r>
              <a:rPr lang="de-DE" sz="1600" dirty="0"/>
              <a:t> == letzte Ziffer von </a:t>
            </a:r>
            <a:r>
              <a:rPr lang="de-DE" sz="1600" dirty="0" err="1"/>
              <a:t>idCardNummer</a:t>
            </a:r>
            <a:br>
              <a:rPr lang="de-DE" sz="1600" dirty="0"/>
            </a:br>
            <a:r>
              <a:rPr lang="de-DE" sz="1600" dirty="0"/>
              <a:t>        Rückgabe </a:t>
            </a:r>
            <a:r>
              <a:rPr lang="de-DE" sz="1600" dirty="0" err="1"/>
              <a:t>true</a:t>
            </a:r>
            <a:br>
              <a:rPr lang="de-DE" sz="1600" dirty="0"/>
            </a:br>
            <a:r>
              <a:rPr lang="de-DE" sz="1600" dirty="0"/>
              <a:t>    Sonst</a:t>
            </a:r>
            <a:br>
              <a:rPr lang="de-DE" sz="1600" dirty="0"/>
            </a:br>
            <a:r>
              <a:rPr lang="de-DE" sz="1600" dirty="0"/>
              <a:t>        Rückgabe </a:t>
            </a:r>
            <a:r>
              <a:rPr lang="de-DE" sz="1600" dirty="0" err="1"/>
              <a:t>fals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Ende </a:t>
            </a:r>
            <a:r>
              <a:rPr lang="de-DE" sz="1600" dirty="0" err="1"/>
              <a:t>funktion</a:t>
            </a:r>
            <a:endParaRPr lang="de-DE" sz="16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F98084E-8B38-4894-DED6-648CF537128C}"/>
              </a:ext>
            </a:extLst>
          </p:cNvPr>
          <p:cNvSpPr txBox="1"/>
          <p:nvPr/>
        </p:nvSpPr>
        <p:spPr>
          <a:xfrm>
            <a:off x="0" y="632961"/>
            <a:ext cx="6147706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 err="1"/>
              <a:t>funktion</a:t>
            </a:r>
            <a:r>
              <a:rPr lang="de-DE" sz="1600" dirty="0"/>
              <a:t> </a:t>
            </a:r>
            <a:r>
              <a:rPr lang="de-DE" sz="1600" dirty="0" err="1"/>
              <a:t>pruefelID</a:t>
            </a:r>
            <a:r>
              <a:rPr lang="de-DE" sz="1600" dirty="0"/>
              <a:t>(</a:t>
            </a:r>
            <a:r>
              <a:rPr lang="de-DE" sz="1600" dirty="0" err="1"/>
              <a:t>idCardNummer</a:t>
            </a:r>
            <a:r>
              <a:rPr lang="de-DE" sz="1600" dirty="0"/>
              <a:t>: String) -&gt; Boolean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  // Schritt 1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produkte</a:t>
            </a:r>
            <a:r>
              <a:rPr lang="de-DE" sz="1600" dirty="0"/>
              <a:t> = []</a:t>
            </a:r>
            <a:br>
              <a:rPr lang="de-DE" sz="1600" dirty="0"/>
            </a:br>
            <a:r>
              <a:rPr lang="de-DE" sz="1600" dirty="0"/>
              <a:t>    für i von 0 bis Länge(</a:t>
            </a:r>
            <a:r>
              <a:rPr lang="de-DE" sz="1600" dirty="0" err="1"/>
              <a:t>idCardNummer</a:t>
            </a:r>
            <a:r>
              <a:rPr lang="de-DE" sz="1600" dirty="0"/>
              <a:t>) - 2</a:t>
            </a:r>
            <a:br>
              <a:rPr lang="de-DE" sz="1600" dirty="0"/>
            </a:br>
            <a:r>
              <a:rPr lang="de-DE" sz="1600" dirty="0"/>
              <a:t>        Wenn (i + 1) ist ungerade</a:t>
            </a:r>
            <a:br>
              <a:rPr lang="de-DE" sz="1600" dirty="0"/>
            </a:br>
            <a:r>
              <a:rPr lang="de-DE" sz="1600" dirty="0"/>
              <a:t>            </a:t>
            </a:r>
            <a:r>
              <a:rPr lang="de-DE" sz="1600" dirty="0" err="1"/>
              <a:t>produkte.append</a:t>
            </a:r>
            <a:r>
              <a:rPr lang="de-DE" sz="1600" dirty="0"/>
              <a:t>( Ziffer an Position i * 2 )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2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quersummenSumme</a:t>
            </a:r>
            <a:r>
              <a:rPr lang="de-DE" sz="1600" dirty="0"/>
              <a:t> = 0</a:t>
            </a:r>
            <a:br>
              <a:rPr lang="de-DE" sz="1600" dirty="0"/>
            </a:br>
            <a:r>
              <a:rPr lang="de-DE" sz="1600" dirty="0"/>
              <a:t>    für </a:t>
            </a:r>
            <a:r>
              <a:rPr lang="de-DE" sz="1600" dirty="0" err="1"/>
              <a:t>produkt</a:t>
            </a:r>
            <a:r>
              <a:rPr lang="de-DE" sz="1600" dirty="0"/>
              <a:t> in </a:t>
            </a:r>
            <a:r>
              <a:rPr lang="de-DE" sz="1600" dirty="0" err="1"/>
              <a:t>produkte</a:t>
            </a:r>
            <a:br>
              <a:rPr lang="de-DE" sz="1600" dirty="0"/>
            </a:br>
            <a:r>
              <a:rPr lang="de-DE" sz="1600" dirty="0"/>
              <a:t>        </a:t>
            </a:r>
            <a:r>
              <a:rPr lang="de-DE" sz="1600" dirty="0" err="1"/>
              <a:t>quersumme</a:t>
            </a:r>
            <a:r>
              <a:rPr lang="de-DE" sz="1600" dirty="0"/>
              <a:t> = Summe der Ziffern von </a:t>
            </a:r>
            <a:r>
              <a:rPr lang="de-DE" sz="1600" dirty="0" err="1"/>
              <a:t>produkt</a:t>
            </a:r>
            <a:br>
              <a:rPr lang="de-DE" sz="1600" dirty="0"/>
            </a:br>
            <a:r>
              <a:rPr lang="de-DE" sz="1600" dirty="0"/>
              <a:t>        </a:t>
            </a:r>
            <a:r>
              <a:rPr lang="de-DE" sz="1600" dirty="0" err="1"/>
              <a:t>quersummenSumme</a:t>
            </a:r>
            <a:r>
              <a:rPr lang="de-DE" sz="1600" dirty="0"/>
              <a:t> = </a:t>
            </a:r>
            <a:r>
              <a:rPr lang="de-DE" sz="1600" dirty="0" err="1"/>
              <a:t>quersummenSumme</a:t>
            </a:r>
            <a:r>
              <a:rPr lang="de-DE" sz="1600" dirty="0"/>
              <a:t> + </a:t>
            </a:r>
            <a:r>
              <a:rPr lang="de-DE" sz="1600" dirty="0" err="1"/>
              <a:t>quersumm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3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geradeSumme</a:t>
            </a:r>
            <a:r>
              <a:rPr lang="de-DE" sz="1600" dirty="0"/>
              <a:t> = 0</a:t>
            </a:r>
            <a:br>
              <a:rPr lang="de-DE" sz="1600" dirty="0"/>
            </a:br>
            <a:r>
              <a:rPr lang="de-DE" sz="1600" dirty="0"/>
              <a:t>    für i von 0 bis Länge(</a:t>
            </a:r>
            <a:r>
              <a:rPr lang="de-DE" sz="1600" dirty="0" err="1"/>
              <a:t>idCardNummer</a:t>
            </a:r>
            <a:r>
              <a:rPr lang="de-DE" sz="1600" dirty="0"/>
              <a:t>) - 2</a:t>
            </a:r>
            <a:br>
              <a:rPr lang="de-DE" sz="1600" dirty="0"/>
            </a:br>
            <a:r>
              <a:rPr lang="de-DE" sz="1600" dirty="0"/>
              <a:t>        Wenn (i + 1) ist gerade</a:t>
            </a:r>
            <a:br>
              <a:rPr lang="de-DE" sz="1600" dirty="0"/>
            </a:br>
            <a:r>
              <a:rPr lang="de-DE" sz="1600" dirty="0"/>
              <a:t>            </a:t>
            </a:r>
            <a:r>
              <a:rPr lang="de-DE" sz="1600" dirty="0" err="1"/>
              <a:t>geradeSumme</a:t>
            </a:r>
            <a:r>
              <a:rPr lang="de-DE" sz="1600" dirty="0"/>
              <a:t> = </a:t>
            </a:r>
            <a:r>
              <a:rPr lang="de-DE" sz="1600" dirty="0" err="1"/>
              <a:t>geradeSumme</a:t>
            </a:r>
            <a:r>
              <a:rPr lang="de-DE" sz="1600" dirty="0"/>
              <a:t> + Ziffer an Position i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E1431ED-314E-3523-2312-C0BAB8CA51E8}"/>
              </a:ext>
            </a:extLst>
          </p:cNvPr>
          <p:cNvCxnSpPr/>
          <p:nvPr/>
        </p:nvCxnSpPr>
        <p:spPr>
          <a:xfrm flipH="1">
            <a:off x="5894614" y="632961"/>
            <a:ext cx="122465" cy="5367789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8" name="Freihand 7">
                <a:extLst>
                  <a:ext uri="{FF2B5EF4-FFF2-40B4-BE49-F238E27FC236}">
                    <a16:creationId xmlns:a16="http://schemas.microsoft.com/office/drawing/2014/main" id="{0ED051C2-7041-7AA6-9B7C-9BBE8427BBD5}"/>
                  </a:ext>
                </a:extLst>
              </p14:cNvPr>
              <p14:cNvContentPartPr/>
              <p14:nvPr/>
            </p14:nvContentPartPr>
            <p14:xfrm>
              <a:off x="7658203" y="2472249"/>
              <a:ext cx="4120920" cy="272520"/>
            </p14:xfrm>
          </p:contentPart>
        </mc:Choice>
        <mc:Fallback>
          <p:pic>
            <p:nvPicPr>
              <p:cNvPr id="8" name="Freihand 7">
                <a:extLst>
                  <a:ext uri="{FF2B5EF4-FFF2-40B4-BE49-F238E27FC236}">
                    <a16:creationId xmlns:a16="http://schemas.microsoft.com/office/drawing/2014/main" id="{0ED051C2-7041-7AA6-9B7C-9BBE8427BBD5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604203" y="2364609"/>
                <a:ext cx="4228560" cy="48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5760B177-672F-F136-59C3-64F8142604F6}"/>
                  </a:ext>
                </a:extLst>
              </p14:cNvPr>
              <p14:cNvContentPartPr/>
              <p14:nvPr/>
            </p14:nvContentPartPr>
            <p14:xfrm>
              <a:off x="3045163" y="747849"/>
              <a:ext cx="495720" cy="84960"/>
            </p14:xfrm>
          </p:contentPart>
        </mc:Choice>
        <mc:Fallback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5760B177-672F-F136-59C3-64F8142604F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991523" y="640209"/>
                <a:ext cx="603360" cy="300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DA11F7CE-357F-B0F3-A9D9-25555D1DD0AC}"/>
                  </a:ext>
                </a:extLst>
              </p14:cNvPr>
              <p14:cNvContentPartPr/>
              <p14:nvPr/>
            </p14:nvContentPartPr>
            <p14:xfrm>
              <a:off x="389083" y="4296729"/>
              <a:ext cx="1415160" cy="185760"/>
            </p14:xfrm>
          </p:contentPart>
        </mc:Choice>
        <mc:Fallback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DA11F7CE-357F-B0F3-A9D9-25555D1DD0A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35083" y="4188729"/>
                <a:ext cx="1522800" cy="401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3067D3E1-240D-29FC-C9E6-6A275A54A95B}"/>
                  </a:ext>
                </a:extLst>
              </p14:cNvPr>
              <p14:cNvContentPartPr/>
              <p14:nvPr/>
            </p14:nvContentPartPr>
            <p14:xfrm>
              <a:off x="628123" y="2008209"/>
              <a:ext cx="1852560" cy="50760"/>
            </p14:xfrm>
          </p:contentPart>
        </mc:Choice>
        <mc:Fallback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3067D3E1-240D-29FC-C9E6-6A275A54A95B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74483" y="1900209"/>
                <a:ext cx="1960200" cy="2664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923637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3FD30-24D2-14DB-F018-1D3ACA88F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5A4B3FDA-3632-8039-F17D-62C377A8B3D4}"/>
              </a:ext>
            </a:extLst>
          </p:cNvPr>
          <p:cNvSpPr txBox="1"/>
          <p:nvPr/>
        </p:nvSpPr>
        <p:spPr>
          <a:xfrm>
            <a:off x="6147706" y="411233"/>
            <a:ext cx="6147706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4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gesamtSumme</a:t>
            </a:r>
            <a:r>
              <a:rPr lang="de-DE" sz="1600" dirty="0"/>
              <a:t> = </a:t>
            </a:r>
            <a:r>
              <a:rPr lang="de-DE" sz="1600" dirty="0" err="1"/>
              <a:t>quersummenSumme</a:t>
            </a:r>
            <a:r>
              <a:rPr lang="de-DE" sz="1600" dirty="0"/>
              <a:t> + </a:t>
            </a:r>
            <a:r>
              <a:rPr lang="de-DE" sz="1600" dirty="0" err="1"/>
              <a:t>geradeSumm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5: </a:t>
            </a:r>
            <a:br>
              <a:rPr lang="de-DE" sz="1600" dirty="0"/>
            </a:br>
            <a:r>
              <a:rPr lang="de-DE" sz="1600" dirty="0"/>
              <a:t>    aufgerundet = </a:t>
            </a:r>
            <a:r>
              <a:rPr lang="de-DE" sz="1600" dirty="0" err="1"/>
              <a:t>gesamtSumme</a:t>
            </a:r>
            <a:br>
              <a:rPr lang="de-DE" sz="1600" dirty="0"/>
            </a:br>
            <a:r>
              <a:rPr lang="de-DE" sz="1600" dirty="0"/>
              <a:t>    wenn </a:t>
            </a:r>
            <a:r>
              <a:rPr lang="de-DE" sz="1600" dirty="0" err="1"/>
              <a:t>gesamtSumme</a:t>
            </a:r>
            <a:r>
              <a:rPr lang="de-DE" sz="1600" dirty="0"/>
              <a:t> </a:t>
            </a:r>
            <a:r>
              <a:rPr lang="de-DE" sz="1600" dirty="0" err="1"/>
              <a:t>mod</a:t>
            </a:r>
            <a:r>
              <a:rPr lang="de-DE" sz="1600" dirty="0"/>
              <a:t> 10 != 0</a:t>
            </a:r>
            <a:br>
              <a:rPr lang="de-DE" sz="1600" dirty="0"/>
            </a:br>
            <a:r>
              <a:rPr lang="de-DE" sz="1600" dirty="0"/>
              <a:t>        aufgerundet = </a:t>
            </a:r>
            <a:r>
              <a:rPr lang="de-DE" sz="1600" dirty="0" err="1"/>
              <a:t>gesamtSumme</a:t>
            </a:r>
            <a:r>
              <a:rPr lang="de-DE" sz="1600" dirty="0"/>
              <a:t> + (10 - (</a:t>
            </a:r>
            <a:r>
              <a:rPr lang="de-DE" sz="1600" dirty="0" err="1"/>
              <a:t>gesamtSumme</a:t>
            </a:r>
            <a:r>
              <a:rPr lang="de-DE" sz="1600" dirty="0"/>
              <a:t> </a:t>
            </a:r>
            <a:r>
              <a:rPr lang="de-DE" sz="1600" dirty="0" err="1"/>
              <a:t>mod</a:t>
            </a:r>
            <a:r>
              <a:rPr lang="de-DE" sz="1600" dirty="0"/>
              <a:t> 10))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6: 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pruefziffer</a:t>
            </a:r>
            <a:r>
              <a:rPr lang="de-DE" sz="1600" dirty="0"/>
              <a:t> = aufgerundet - </a:t>
            </a:r>
            <a:r>
              <a:rPr lang="de-DE" sz="1600" dirty="0" err="1"/>
              <a:t>gesamtSumm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Vergleiche die letzte Ziffer der ID mit der berechneten Prüfziffer</a:t>
            </a:r>
            <a:br>
              <a:rPr lang="de-DE" sz="1600" dirty="0"/>
            </a:br>
            <a:r>
              <a:rPr lang="de-DE" sz="1600" dirty="0"/>
              <a:t>    wenn </a:t>
            </a:r>
            <a:r>
              <a:rPr lang="de-DE" sz="1600" dirty="0" err="1"/>
              <a:t>pruefziffer</a:t>
            </a:r>
            <a:r>
              <a:rPr lang="de-DE" sz="1600" dirty="0"/>
              <a:t> == letzte Ziffer von </a:t>
            </a:r>
            <a:r>
              <a:rPr lang="de-DE" sz="1600" dirty="0" err="1"/>
              <a:t>idCardNummer</a:t>
            </a:r>
            <a:br>
              <a:rPr lang="de-DE" sz="1600" dirty="0"/>
            </a:br>
            <a:r>
              <a:rPr lang="de-DE" sz="1600" dirty="0"/>
              <a:t>        Rückgabe </a:t>
            </a:r>
            <a:r>
              <a:rPr lang="de-DE" sz="1600" dirty="0" err="1"/>
              <a:t>true</a:t>
            </a:r>
            <a:br>
              <a:rPr lang="de-DE" sz="1600" dirty="0"/>
            </a:br>
            <a:r>
              <a:rPr lang="de-DE" sz="1600" dirty="0"/>
              <a:t>    Sonst</a:t>
            </a:r>
            <a:br>
              <a:rPr lang="de-DE" sz="1600" dirty="0"/>
            </a:br>
            <a:r>
              <a:rPr lang="de-DE" sz="1600" dirty="0"/>
              <a:t>        Rückgabe </a:t>
            </a:r>
            <a:r>
              <a:rPr lang="de-DE" sz="1600" dirty="0" err="1"/>
              <a:t>fals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Ende </a:t>
            </a:r>
            <a:r>
              <a:rPr lang="de-DE" sz="1600" dirty="0" err="1"/>
              <a:t>funktion</a:t>
            </a:r>
            <a:endParaRPr lang="de-DE" sz="16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C70E203-D5D4-C768-49D2-5A199026F9D0}"/>
              </a:ext>
            </a:extLst>
          </p:cNvPr>
          <p:cNvSpPr txBox="1"/>
          <p:nvPr/>
        </p:nvSpPr>
        <p:spPr>
          <a:xfrm>
            <a:off x="0" y="632961"/>
            <a:ext cx="6147706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 err="1"/>
              <a:t>funktion</a:t>
            </a:r>
            <a:r>
              <a:rPr lang="de-DE" sz="1600" dirty="0"/>
              <a:t> </a:t>
            </a:r>
            <a:r>
              <a:rPr lang="de-DE" sz="1600" dirty="0" err="1"/>
              <a:t>pruefelID</a:t>
            </a:r>
            <a:r>
              <a:rPr lang="de-DE" sz="1600" dirty="0"/>
              <a:t>(</a:t>
            </a:r>
            <a:r>
              <a:rPr lang="de-DE" sz="1600" dirty="0" err="1"/>
              <a:t>idCardNummer</a:t>
            </a:r>
            <a:r>
              <a:rPr lang="de-DE" sz="1600" dirty="0"/>
              <a:t>: String) -&gt; Boolean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  // Schritt 1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produkte</a:t>
            </a:r>
            <a:r>
              <a:rPr lang="de-DE" sz="1600" dirty="0"/>
              <a:t> = []</a:t>
            </a:r>
            <a:br>
              <a:rPr lang="de-DE" sz="1600" dirty="0"/>
            </a:br>
            <a:r>
              <a:rPr lang="de-DE" sz="1600" dirty="0"/>
              <a:t>    für i von 0 bis Länge(</a:t>
            </a:r>
            <a:r>
              <a:rPr lang="de-DE" sz="1600" dirty="0" err="1"/>
              <a:t>idCardNummer</a:t>
            </a:r>
            <a:r>
              <a:rPr lang="de-DE" sz="1600" dirty="0"/>
              <a:t>) - 2</a:t>
            </a:r>
            <a:br>
              <a:rPr lang="de-DE" sz="1600" dirty="0"/>
            </a:br>
            <a:r>
              <a:rPr lang="de-DE" sz="1600" dirty="0"/>
              <a:t>        Wenn (i + 1) ist ungerade</a:t>
            </a:r>
            <a:br>
              <a:rPr lang="de-DE" sz="1600" dirty="0"/>
            </a:br>
            <a:r>
              <a:rPr lang="de-DE" sz="1600" dirty="0"/>
              <a:t>            </a:t>
            </a:r>
            <a:r>
              <a:rPr lang="de-DE" sz="1600" dirty="0" err="1"/>
              <a:t>produkte.append</a:t>
            </a:r>
            <a:r>
              <a:rPr lang="de-DE" sz="1600" dirty="0"/>
              <a:t>( Ziffer an Position i * 2 )</a:t>
            </a:r>
          </a:p>
          <a:p>
            <a:r>
              <a:rPr lang="de-DE" sz="1600" dirty="0"/>
              <a:t>      SONST</a:t>
            </a:r>
            <a:br>
              <a:rPr lang="de-DE" sz="1600" dirty="0"/>
            </a:br>
            <a:r>
              <a:rPr lang="de-DE" sz="1600" dirty="0"/>
              <a:t>            </a:t>
            </a:r>
            <a:r>
              <a:rPr lang="de-DE" sz="1600" dirty="0" err="1"/>
              <a:t>geradeSumme</a:t>
            </a:r>
            <a:r>
              <a:rPr lang="de-DE" sz="1600" dirty="0"/>
              <a:t> = </a:t>
            </a:r>
            <a:r>
              <a:rPr lang="de-DE" sz="1600" dirty="0" err="1"/>
              <a:t>geradeSumme</a:t>
            </a:r>
            <a:r>
              <a:rPr lang="de-DE" sz="1600" dirty="0"/>
              <a:t> + Ziffer an Position i</a:t>
            </a:r>
          </a:p>
          <a:p>
            <a:r>
              <a:rPr lang="de-DE" sz="1600" dirty="0"/>
              <a:t>ENDE WENN</a:t>
            </a:r>
          </a:p>
          <a:p>
            <a:br>
              <a:rPr lang="de-DE" sz="1600" dirty="0"/>
            </a:br>
            <a:r>
              <a:rPr lang="de-DE" sz="1600" dirty="0"/>
              <a:t>    // Schritt 2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quersummenSumme</a:t>
            </a:r>
            <a:r>
              <a:rPr lang="de-DE" sz="1600" dirty="0"/>
              <a:t> = 0</a:t>
            </a:r>
            <a:br>
              <a:rPr lang="de-DE" sz="1600" dirty="0"/>
            </a:br>
            <a:r>
              <a:rPr lang="de-DE" sz="1600" dirty="0"/>
              <a:t>    für </a:t>
            </a:r>
            <a:r>
              <a:rPr lang="de-DE" sz="1600" dirty="0" err="1"/>
              <a:t>produkt</a:t>
            </a:r>
            <a:r>
              <a:rPr lang="de-DE" sz="1600" dirty="0"/>
              <a:t> in </a:t>
            </a:r>
            <a:r>
              <a:rPr lang="de-DE" sz="1600" dirty="0" err="1"/>
              <a:t>produkte</a:t>
            </a:r>
            <a:br>
              <a:rPr lang="de-DE" sz="1600" dirty="0"/>
            </a:br>
            <a:r>
              <a:rPr lang="de-DE" sz="1600" dirty="0"/>
              <a:t>        </a:t>
            </a:r>
            <a:r>
              <a:rPr lang="de-DE" sz="1600" dirty="0" err="1"/>
              <a:t>quersumme</a:t>
            </a:r>
            <a:r>
              <a:rPr lang="de-DE" sz="1600" dirty="0"/>
              <a:t> = Summe der Ziffern von </a:t>
            </a:r>
            <a:r>
              <a:rPr lang="de-DE" sz="1600" dirty="0" err="1"/>
              <a:t>produkt</a:t>
            </a:r>
            <a:br>
              <a:rPr lang="de-DE" sz="1600" dirty="0"/>
            </a:br>
            <a:r>
              <a:rPr lang="de-DE" sz="1600" dirty="0"/>
              <a:t>        </a:t>
            </a:r>
            <a:r>
              <a:rPr lang="de-DE" sz="1600" dirty="0" err="1"/>
              <a:t>quersummenSumme</a:t>
            </a:r>
            <a:r>
              <a:rPr lang="de-DE" sz="1600" dirty="0"/>
              <a:t> = </a:t>
            </a:r>
            <a:r>
              <a:rPr lang="de-DE" sz="1600" dirty="0" err="1"/>
              <a:t>quersummenSumme</a:t>
            </a:r>
            <a:r>
              <a:rPr lang="de-DE" sz="1600" dirty="0"/>
              <a:t> + </a:t>
            </a:r>
            <a:r>
              <a:rPr lang="de-DE" sz="1600" dirty="0" err="1"/>
              <a:t>quersumme</a:t>
            </a:r>
            <a:br>
              <a:rPr lang="de-DE" sz="1600" dirty="0"/>
            </a:br>
            <a:br>
              <a:rPr lang="de-DE" sz="1600" dirty="0"/>
            </a:br>
            <a:r>
              <a:rPr lang="de-DE" sz="1600" dirty="0"/>
              <a:t>    // Schritt 3:</a:t>
            </a:r>
            <a:br>
              <a:rPr lang="de-DE" sz="1600" dirty="0"/>
            </a:br>
            <a:r>
              <a:rPr lang="de-DE" sz="1600" dirty="0"/>
              <a:t>    </a:t>
            </a:r>
            <a:r>
              <a:rPr lang="de-DE" sz="1600" dirty="0" err="1"/>
              <a:t>geradeSumme</a:t>
            </a:r>
            <a:r>
              <a:rPr lang="de-DE" sz="1600" dirty="0"/>
              <a:t> = 0</a:t>
            </a:r>
            <a:br>
              <a:rPr lang="de-DE" sz="1600" dirty="0"/>
            </a:br>
            <a:r>
              <a:rPr lang="de-DE" sz="1600" dirty="0"/>
              <a:t>    für i von 0 bis Länge(</a:t>
            </a:r>
            <a:r>
              <a:rPr lang="de-DE" sz="1600" dirty="0" err="1"/>
              <a:t>idCardNummer</a:t>
            </a:r>
            <a:r>
              <a:rPr lang="de-DE" sz="1600" dirty="0"/>
              <a:t>) - 2</a:t>
            </a:r>
            <a:br>
              <a:rPr lang="de-DE" sz="1600" dirty="0"/>
            </a:br>
            <a:r>
              <a:rPr lang="de-DE" sz="1600" dirty="0"/>
              <a:t>        Wenn (i + 1) ist gerade</a:t>
            </a:r>
            <a:br>
              <a:rPr lang="de-DE" sz="1600" dirty="0"/>
            </a:br>
            <a:endParaRPr lang="de-DE" sz="160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4D09991-B3BA-F100-A169-6AA486429183}"/>
              </a:ext>
            </a:extLst>
          </p:cNvPr>
          <p:cNvCxnSpPr/>
          <p:nvPr/>
        </p:nvCxnSpPr>
        <p:spPr>
          <a:xfrm flipH="1">
            <a:off x="5894614" y="632961"/>
            <a:ext cx="122465" cy="5367789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8" name="Freihand 7">
                <a:extLst>
                  <a:ext uri="{FF2B5EF4-FFF2-40B4-BE49-F238E27FC236}">
                    <a16:creationId xmlns:a16="http://schemas.microsoft.com/office/drawing/2014/main" id="{1330A4CE-59EB-8CE7-2735-FB7B66914601}"/>
                  </a:ext>
                </a:extLst>
              </p14:cNvPr>
              <p14:cNvContentPartPr/>
              <p14:nvPr/>
            </p14:nvContentPartPr>
            <p14:xfrm>
              <a:off x="7658203" y="2472249"/>
              <a:ext cx="4120920" cy="272520"/>
            </p14:xfrm>
          </p:contentPart>
        </mc:Choice>
        <mc:Fallback>
          <p:pic>
            <p:nvPicPr>
              <p:cNvPr id="8" name="Freihand 7">
                <a:extLst>
                  <a:ext uri="{FF2B5EF4-FFF2-40B4-BE49-F238E27FC236}">
                    <a16:creationId xmlns:a16="http://schemas.microsoft.com/office/drawing/2014/main" id="{1330A4CE-59EB-8CE7-2735-FB7B66914601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604208" y="2364249"/>
                <a:ext cx="4228551" cy="488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656F6207-4E8B-6512-9397-771669DE5F3C}"/>
                  </a:ext>
                </a:extLst>
              </p14:cNvPr>
              <p14:cNvContentPartPr/>
              <p14:nvPr/>
            </p14:nvContentPartPr>
            <p14:xfrm>
              <a:off x="3045163" y="747849"/>
              <a:ext cx="495720" cy="84960"/>
            </p14:xfrm>
          </p:contentPart>
        </mc:Choice>
        <mc:Fallback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656F6207-4E8B-6512-9397-771669DE5F3C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991163" y="639849"/>
                <a:ext cx="603360" cy="300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B226B152-143F-C28F-0946-EA73AB9BE129}"/>
                  </a:ext>
                </a:extLst>
              </p14:cNvPr>
              <p14:cNvContentPartPr/>
              <p14:nvPr/>
            </p14:nvContentPartPr>
            <p14:xfrm>
              <a:off x="389083" y="4296729"/>
              <a:ext cx="1415160" cy="185760"/>
            </p14:xfrm>
          </p:contentPart>
        </mc:Choice>
        <mc:Fallback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B226B152-143F-C28F-0946-EA73AB9BE129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35097" y="4188938"/>
                <a:ext cx="1522773" cy="40098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D7F003A9-2597-61DD-4C99-EF832F8D2A7D}"/>
                  </a:ext>
                </a:extLst>
              </p14:cNvPr>
              <p14:cNvContentPartPr/>
              <p14:nvPr/>
            </p14:nvContentPartPr>
            <p14:xfrm>
              <a:off x="628123" y="2008209"/>
              <a:ext cx="1852560" cy="50760"/>
            </p14:xfrm>
          </p:contentPart>
        </mc:Choice>
        <mc:Fallback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D7F003A9-2597-61DD-4C99-EF832F8D2A7D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74123" y="1900209"/>
                <a:ext cx="1960200" cy="2664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F2F043EE-C24C-18B3-4F5E-4A90B3442286}"/>
              </a:ext>
            </a:extLst>
          </p:cNvPr>
          <p:cNvSpPr txBox="1"/>
          <p:nvPr/>
        </p:nvSpPr>
        <p:spPr>
          <a:xfrm>
            <a:off x="1330779" y="204107"/>
            <a:ext cx="3020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BA verschmiert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049A52F6-7686-6D0C-5A44-90DDF481331C}"/>
                  </a:ext>
                </a:extLst>
              </p14:cNvPr>
              <p14:cNvContentPartPr/>
              <p14:nvPr/>
            </p14:nvContentPartPr>
            <p14:xfrm>
              <a:off x="1787683" y="3298089"/>
              <a:ext cx="92520" cy="22680"/>
            </p14:xfrm>
          </p:contentPart>
        </mc:Choice>
        <mc:Fallback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049A52F6-7686-6D0C-5A44-90DDF481331C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770043" y="3280449"/>
                <a:ext cx="128160" cy="58320"/>
              </a:xfrm>
              <a:prstGeom prst="rect">
                <a:avLst/>
              </a:prstGeom>
            </p:spPr>
          </p:pic>
        </mc:Fallback>
      </mc:AlternateContent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20023F4-AD61-90E4-D036-01A8980EE409}"/>
              </a:ext>
            </a:extLst>
          </p:cNvPr>
          <p:cNvGrpSpPr/>
          <p:nvPr/>
        </p:nvGrpSpPr>
        <p:grpSpPr>
          <a:xfrm>
            <a:off x="2000083" y="3404289"/>
            <a:ext cx="116280" cy="33120"/>
            <a:chOff x="2000083" y="3404289"/>
            <a:chExt cx="116280" cy="33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6" name="Freihand 5">
                  <a:extLst>
                    <a:ext uri="{FF2B5EF4-FFF2-40B4-BE49-F238E27FC236}">
                      <a16:creationId xmlns:a16="http://schemas.microsoft.com/office/drawing/2014/main" id="{FF37684B-A529-D1F5-285D-DC3582D39F27}"/>
                    </a:ext>
                  </a:extLst>
                </p14:cNvPr>
                <p14:cNvContentPartPr/>
                <p14:nvPr/>
              </p14:nvContentPartPr>
              <p14:xfrm>
                <a:off x="2000083" y="3404289"/>
                <a:ext cx="8280" cy="6840"/>
              </p14:xfrm>
            </p:contentPart>
          </mc:Choice>
          <mc:Fallback>
            <p:pic>
              <p:nvPicPr>
                <p:cNvPr id="6" name="Freihand 5">
                  <a:extLst>
                    <a:ext uri="{FF2B5EF4-FFF2-40B4-BE49-F238E27FC236}">
                      <a16:creationId xmlns:a16="http://schemas.microsoft.com/office/drawing/2014/main" id="{FF37684B-A529-D1F5-285D-DC3582D39F27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982443" y="3386289"/>
                  <a:ext cx="4392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2" name="Freihand 11">
                  <a:extLst>
                    <a:ext uri="{FF2B5EF4-FFF2-40B4-BE49-F238E27FC236}">
                      <a16:creationId xmlns:a16="http://schemas.microsoft.com/office/drawing/2014/main" id="{B9BF7828-8FD7-9DD6-6C6F-CD4964232D1B}"/>
                    </a:ext>
                  </a:extLst>
                </p14:cNvPr>
                <p14:cNvContentPartPr/>
                <p14:nvPr/>
              </p14:nvContentPartPr>
              <p14:xfrm>
                <a:off x="2114563" y="3437049"/>
                <a:ext cx="1800" cy="360"/>
              </p14:xfrm>
            </p:contentPart>
          </mc:Choice>
          <mc:Fallback>
            <p:pic>
              <p:nvPicPr>
                <p:cNvPr id="12" name="Freihand 11">
                  <a:extLst>
                    <a:ext uri="{FF2B5EF4-FFF2-40B4-BE49-F238E27FC236}">
                      <a16:creationId xmlns:a16="http://schemas.microsoft.com/office/drawing/2014/main" id="{B9BF7828-8FD7-9DD6-6C6F-CD4964232D1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2096563" y="3419409"/>
                  <a:ext cx="37440" cy="36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6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E55AB2B7-206E-477F-42A8-2411D83D219E}"/>
                  </a:ext>
                </a:extLst>
              </p14:cNvPr>
              <p14:cNvContentPartPr/>
              <p14:nvPr/>
            </p14:nvContentPartPr>
            <p14:xfrm>
              <a:off x="2416243" y="3493929"/>
              <a:ext cx="42840" cy="15120"/>
            </p14:xfrm>
          </p:contentPart>
        </mc:Choice>
        <mc:Fallback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E55AB2B7-206E-477F-42A8-2411D83D219E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2398603" y="3476289"/>
                <a:ext cx="78480" cy="50760"/>
              </a:xfrm>
              <a:prstGeom prst="rect">
                <a:avLst/>
              </a:prstGeom>
            </p:spPr>
          </p:pic>
        </mc:Fallback>
      </mc:AlternateContent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A401134-FA6F-ACC9-5250-AEA9B1804345}"/>
              </a:ext>
            </a:extLst>
          </p:cNvPr>
          <p:cNvGrpSpPr/>
          <p:nvPr/>
        </p:nvGrpSpPr>
        <p:grpSpPr>
          <a:xfrm>
            <a:off x="2612443" y="3576009"/>
            <a:ext cx="37440" cy="3600"/>
            <a:chOff x="2612443" y="3576009"/>
            <a:chExt cx="37440" cy="36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4" name="Freihand 13">
                  <a:extLst>
                    <a:ext uri="{FF2B5EF4-FFF2-40B4-BE49-F238E27FC236}">
                      <a16:creationId xmlns:a16="http://schemas.microsoft.com/office/drawing/2014/main" id="{D5B47DD9-BCEC-EB2F-0BB4-B8FC9B666C07}"/>
                    </a:ext>
                  </a:extLst>
                </p14:cNvPr>
                <p14:cNvContentPartPr/>
                <p14:nvPr/>
              </p14:nvContentPartPr>
              <p14:xfrm>
                <a:off x="2612443" y="3576009"/>
                <a:ext cx="360" cy="360"/>
              </p14:xfrm>
            </p:contentPart>
          </mc:Choice>
          <mc:Fallback>
            <p:pic>
              <p:nvPicPr>
                <p:cNvPr id="14" name="Freihand 13">
                  <a:extLst>
                    <a:ext uri="{FF2B5EF4-FFF2-40B4-BE49-F238E27FC236}">
                      <a16:creationId xmlns:a16="http://schemas.microsoft.com/office/drawing/2014/main" id="{D5B47DD9-BCEC-EB2F-0BB4-B8FC9B666C07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2594803" y="3558009"/>
                  <a:ext cx="3600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FF4B4505-B085-C51C-97A9-044B9A5759E3}"/>
                    </a:ext>
                  </a:extLst>
                </p14:cNvPr>
                <p14:cNvContentPartPr/>
                <p14:nvPr/>
              </p14:nvContentPartPr>
              <p14:xfrm>
                <a:off x="2612443" y="3576009"/>
                <a:ext cx="37440" cy="3600"/>
              </p14:xfrm>
            </p:contentPart>
          </mc:Choice>
          <mc:Fallback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FF4B4505-B085-C51C-97A9-044B9A5759E3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2594803" y="3558009"/>
                  <a:ext cx="73080" cy="392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2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F8746A76-2561-0520-2777-8A569CBF361A}"/>
                  </a:ext>
                </a:extLst>
              </p14:cNvPr>
              <p14:cNvContentPartPr/>
              <p14:nvPr/>
            </p14:nvContentPartPr>
            <p14:xfrm>
              <a:off x="2882083" y="3632889"/>
              <a:ext cx="5040" cy="1800"/>
            </p14:xfrm>
          </p:contentPart>
        </mc:Choice>
        <mc:Fallback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F8746A76-2561-0520-2777-8A569CBF361A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2864083" y="3614889"/>
                <a:ext cx="40680" cy="37440"/>
              </a:xfrm>
              <a:prstGeom prst="rect">
                <a:avLst/>
              </a:prstGeom>
            </p:spPr>
          </p:pic>
        </mc:Fallback>
      </mc:AlternateContent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EFD9057-FC23-D453-F8BB-D30B07163962}"/>
              </a:ext>
            </a:extLst>
          </p:cNvPr>
          <p:cNvGrpSpPr/>
          <p:nvPr/>
        </p:nvGrpSpPr>
        <p:grpSpPr>
          <a:xfrm>
            <a:off x="3093763" y="3673569"/>
            <a:ext cx="36360" cy="18360"/>
            <a:chOff x="3093763" y="3673569"/>
            <a:chExt cx="36360" cy="18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17" name="Freihand 16">
                  <a:extLst>
                    <a:ext uri="{FF2B5EF4-FFF2-40B4-BE49-F238E27FC236}">
                      <a16:creationId xmlns:a16="http://schemas.microsoft.com/office/drawing/2014/main" id="{B3882203-2862-884F-6848-2983FD01114E}"/>
                    </a:ext>
                  </a:extLst>
                </p14:cNvPr>
                <p14:cNvContentPartPr/>
                <p14:nvPr/>
              </p14:nvContentPartPr>
              <p14:xfrm>
                <a:off x="3093763" y="3673569"/>
                <a:ext cx="1800" cy="360"/>
              </p14:xfrm>
            </p:contentPart>
          </mc:Choice>
          <mc:Fallback>
            <p:pic>
              <p:nvPicPr>
                <p:cNvPr id="17" name="Freihand 16">
                  <a:extLst>
                    <a:ext uri="{FF2B5EF4-FFF2-40B4-BE49-F238E27FC236}">
                      <a16:creationId xmlns:a16="http://schemas.microsoft.com/office/drawing/2014/main" id="{B3882203-2862-884F-6848-2983FD01114E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3076123" y="3655929"/>
                  <a:ext cx="37440" cy="3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8" name="Freihand 17">
                  <a:extLst>
                    <a:ext uri="{FF2B5EF4-FFF2-40B4-BE49-F238E27FC236}">
                      <a16:creationId xmlns:a16="http://schemas.microsoft.com/office/drawing/2014/main" id="{2665EA45-CFF8-9D6F-61EA-83AC119073CA}"/>
                    </a:ext>
                  </a:extLst>
                </p14:cNvPr>
                <p14:cNvContentPartPr/>
                <p14:nvPr/>
              </p14:nvContentPartPr>
              <p14:xfrm>
                <a:off x="3126883" y="3690129"/>
                <a:ext cx="3240" cy="1800"/>
              </p14:xfrm>
            </p:contentPart>
          </mc:Choice>
          <mc:Fallback>
            <p:pic>
              <p:nvPicPr>
                <p:cNvPr id="18" name="Freihand 17">
                  <a:extLst>
                    <a:ext uri="{FF2B5EF4-FFF2-40B4-BE49-F238E27FC236}">
                      <a16:creationId xmlns:a16="http://schemas.microsoft.com/office/drawing/2014/main" id="{2665EA45-CFF8-9D6F-61EA-83AC119073CA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3108883" y="3672489"/>
                  <a:ext cx="38880" cy="374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6667750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F9328-9B03-1866-0456-031727CD3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0549074-0709-5E73-8F4B-5A12E9B9DD17}"/>
              </a:ext>
            </a:extLst>
          </p:cNvPr>
          <p:cNvSpPr txBox="1"/>
          <p:nvPr/>
        </p:nvSpPr>
        <p:spPr>
          <a:xfrm>
            <a:off x="1314450" y="1102179"/>
            <a:ext cx="24247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5 : 2 = 2 Rest 1</a:t>
            </a:r>
          </a:p>
          <a:p>
            <a:endParaRPr lang="de-DE" dirty="0"/>
          </a:p>
          <a:p>
            <a:r>
              <a:rPr lang="de-DE" dirty="0"/>
              <a:t>5 </a:t>
            </a:r>
            <a:r>
              <a:rPr lang="de-DE" dirty="0" err="1"/>
              <a:t>mod</a:t>
            </a:r>
            <a:r>
              <a:rPr lang="de-DE" dirty="0"/>
              <a:t>(2) = 1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3" name="Freihand 2">
                <a:extLst>
                  <a:ext uri="{FF2B5EF4-FFF2-40B4-BE49-F238E27FC236}">
                    <a16:creationId xmlns:a16="http://schemas.microsoft.com/office/drawing/2014/main" id="{2E00975A-30F4-4A3F-2E8A-78278BC77FE9}"/>
                  </a:ext>
                </a:extLst>
              </p14:cNvPr>
              <p14:cNvContentPartPr/>
              <p14:nvPr/>
            </p14:nvContentPartPr>
            <p14:xfrm>
              <a:off x="2644483" y="1299369"/>
              <a:ext cx="74520" cy="23760"/>
            </p14:xfrm>
          </p:contentPart>
        </mc:Choice>
        <mc:Fallback>
          <p:pic>
            <p:nvPicPr>
              <p:cNvPr id="3" name="Freihand 2">
                <a:extLst>
                  <a:ext uri="{FF2B5EF4-FFF2-40B4-BE49-F238E27FC236}">
                    <a16:creationId xmlns:a16="http://schemas.microsoft.com/office/drawing/2014/main" id="{2E00975A-30F4-4A3F-2E8A-78278BC77FE9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90483" y="1191369"/>
                <a:ext cx="182160" cy="239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7C3BFACE-005C-0954-6693-97B1D790EC68}"/>
                  </a:ext>
                </a:extLst>
              </p14:cNvPr>
              <p14:cNvContentPartPr/>
              <p14:nvPr/>
            </p14:nvContentPartPr>
            <p14:xfrm>
              <a:off x="2522803" y="1842969"/>
              <a:ext cx="67320" cy="18720"/>
            </p14:xfrm>
          </p:contentPart>
        </mc:Choice>
        <mc:Fallback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7C3BFACE-005C-0954-6693-97B1D790EC6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468803" y="1735329"/>
                <a:ext cx="174960" cy="23436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feld 5">
            <a:extLst>
              <a:ext uri="{FF2B5EF4-FFF2-40B4-BE49-F238E27FC236}">
                <a16:creationId xmlns:a16="http://schemas.microsoft.com/office/drawing/2014/main" id="{761BDC5B-C818-7726-1E38-DB70B38B594A}"/>
              </a:ext>
            </a:extLst>
          </p:cNvPr>
          <p:cNvSpPr txBox="1"/>
          <p:nvPr/>
        </p:nvSpPr>
        <p:spPr>
          <a:xfrm>
            <a:off x="5999392" y="1941393"/>
            <a:ext cx="28833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dirty="0"/>
              <a:t>(i </a:t>
            </a:r>
            <a:r>
              <a:rPr lang="de-DE" sz="1800" dirty="0" err="1"/>
              <a:t>modulo</a:t>
            </a:r>
            <a:r>
              <a:rPr lang="de-DE" sz="1800" dirty="0"/>
              <a:t>(2) = 1) </a:t>
            </a:r>
            <a:endParaRPr lang="de-DE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DFABA603-AC78-5DE3-4356-8D36A290ED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352222"/>
              </p:ext>
            </p:extLst>
          </p:nvPr>
        </p:nvGraphicFramePr>
        <p:xfrm>
          <a:off x="5896429" y="2501900"/>
          <a:ext cx="255633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8165">
                  <a:extLst>
                    <a:ext uri="{9D8B030D-6E8A-4147-A177-3AD203B41FA5}">
                      <a16:colId xmlns:a16="http://schemas.microsoft.com/office/drawing/2014/main" val="2470972788"/>
                    </a:ext>
                  </a:extLst>
                </a:gridCol>
                <a:gridCol w="1278165">
                  <a:extLst>
                    <a:ext uri="{9D8B030D-6E8A-4147-A177-3AD203B41FA5}">
                      <a16:colId xmlns:a16="http://schemas.microsoft.com/office/drawing/2014/main" val="11169719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Mod</a:t>
                      </a:r>
                      <a:r>
                        <a:rPr lang="de-DE" dirty="0"/>
                        <a:t>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85391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1424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820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117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2055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860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4681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045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131003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EC7A419-EE30-94EE-E7E7-D06740CBBC10}"/>
              </a:ext>
            </a:extLst>
          </p:cNvPr>
          <p:cNvSpPr txBox="1"/>
          <p:nvPr/>
        </p:nvSpPr>
        <p:spPr>
          <a:xfrm>
            <a:off x="669472" y="3102429"/>
            <a:ext cx="39841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BAN</a:t>
            </a:r>
          </a:p>
          <a:p>
            <a:r>
              <a:rPr lang="de-DE" dirty="0"/>
              <a:t>DE XX BBBB </a:t>
            </a:r>
            <a:r>
              <a:rPr lang="de-DE" dirty="0" err="1"/>
              <a:t>BBBB</a:t>
            </a:r>
            <a:r>
              <a:rPr lang="de-DE" dirty="0"/>
              <a:t> BBKK KKKK KK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20AA931C-71AF-08FC-F426-B06598133282}"/>
              </a:ext>
            </a:extLst>
          </p:cNvPr>
          <p:cNvCxnSpPr/>
          <p:nvPr/>
        </p:nvCxnSpPr>
        <p:spPr>
          <a:xfrm flipV="1">
            <a:off x="1126671" y="3748760"/>
            <a:ext cx="65315" cy="52932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284E589A-B781-E079-8F2E-C409E4CC8CB9}"/>
              </a:ext>
            </a:extLst>
          </p:cNvPr>
          <p:cNvSpPr txBox="1"/>
          <p:nvPr/>
        </p:nvSpPr>
        <p:spPr>
          <a:xfrm>
            <a:off x="498021" y="4367893"/>
            <a:ext cx="3714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üfsumme </a:t>
            </a:r>
            <a:r>
              <a:rPr lang="de-DE" dirty="0" err="1"/>
              <a:t>mod</a:t>
            </a:r>
            <a:r>
              <a:rPr lang="de-DE" dirty="0"/>
              <a:t>(97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26BE67A-18B9-89DF-BBCA-1ABDE41433B7}"/>
              </a:ext>
            </a:extLst>
          </p:cNvPr>
          <p:cNvCxnSpPr/>
          <p:nvPr/>
        </p:nvCxnSpPr>
        <p:spPr>
          <a:xfrm>
            <a:off x="9005207" y="832757"/>
            <a:ext cx="0" cy="5102679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BF7AC07E-F05A-EB95-2439-834AD24E06D0}"/>
              </a:ext>
            </a:extLst>
          </p:cNvPr>
          <p:cNvSpPr txBox="1"/>
          <p:nvPr/>
        </p:nvSpPr>
        <p:spPr>
          <a:xfrm>
            <a:off x="9192986" y="1102179"/>
            <a:ext cx="230232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 – 18</a:t>
            </a:r>
          </a:p>
          <a:p>
            <a:r>
              <a:rPr lang="de-DE" dirty="0"/>
              <a:t>Nur gerade Werte</a:t>
            </a:r>
          </a:p>
          <a:p>
            <a:endParaRPr lang="de-DE" dirty="0"/>
          </a:p>
          <a:p>
            <a:r>
              <a:rPr lang="de-DE" dirty="0"/>
              <a:t>0 – 8 nix tun</a:t>
            </a:r>
          </a:p>
          <a:p>
            <a:endParaRPr lang="de-DE" dirty="0"/>
          </a:p>
          <a:p>
            <a:r>
              <a:rPr lang="de-DE" dirty="0"/>
              <a:t>10 -18</a:t>
            </a:r>
          </a:p>
          <a:p>
            <a:endParaRPr lang="de-DE" dirty="0"/>
          </a:p>
          <a:p>
            <a:r>
              <a:rPr lang="de-DE" dirty="0"/>
              <a:t>10 – 9 = 1</a:t>
            </a:r>
          </a:p>
          <a:p>
            <a:endParaRPr lang="de-DE" dirty="0"/>
          </a:p>
          <a:p>
            <a:r>
              <a:rPr lang="de-DE" dirty="0"/>
              <a:t>12 – 9 = 3</a:t>
            </a:r>
          </a:p>
          <a:p>
            <a:endParaRPr lang="de-DE" dirty="0"/>
          </a:p>
          <a:p>
            <a:r>
              <a:rPr lang="de-DE" dirty="0"/>
              <a:t>14 – 9 = 5</a:t>
            </a:r>
          </a:p>
          <a:p>
            <a:endParaRPr lang="de-DE" dirty="0"/>
          </a:p>
          <a:p>
            <a:r>
              <a:rPr lang="de-DE" dirty="0"/>
              <a:t>16 – 9 = 7</a:t>
            </a:r>
          </a:p>
          <a:p>
            <a:endParaRPr lang="de-DE" dirty="0"/>
          </a:p>
          <a:p>
            <a:r>
              <a:rPr lang="de-DE" dirty="0"/>
              <a:t>18 – 9 = 9</a:t>
            </a:r>
          </a:p>
        </p:txBody>
      </p:sp>
    </p:spTree>
    <p:extLst>
      <p:ext uri="{BB962C8B-B14F-4D97-AF65-F5344CB8AC3E}">
        <p14:creationId xmlns:p14="http://schemas.microsoft.com/office/powerpoint/2010/main" val="18899466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D72946-0A17-C636-8D1E-C991167D3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19DE0F8E-928C-F5F8-35E7-381405702652}"/>
              </a:ext>
            </a:extLst>
          </p:cNvPr>
          <p:cNvSpPr txBox="1"/>
          <p:nvPr/>
        </p:nvSpPr>
        <p:spPr>
          <a:xfrm>
            <a:off x="3477986" y="2930979"/>
            <a:ext cx="375557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lassenbuch</a:t>
            </a:r>
          </a:p>
          <a:p>
            <a:endParaRPr lang="de-DE" dirty="0"/>
          </a:p>
          <a:p>
            <a:r>
              <a:rPr lang="de-DE" dirty="0"/>
              <a:t>STS bei XML</a:t>
            </a:r>
          </a:p>
          <a:p>
            <a:r>
              <a:rPr lang="de-DE" dirty="0"/>
              <a:t>XSD</a:t>
            </a:r>
          </a:p>
          <a:p>
            <a:r>
              <a:rPr lang="de-DE" dirty="0"/>
              <a:t>Programmierung</a:t>
            </a:r>
          </a:p>
          <a:p>
            <a:r>
              <a:rPr lang="de-DE" dirty="0"/>
              <a:t>Modulo!!!!!!</a:t>
            </a:r>
          </a:p>
        </p:txBody>
      </p:sp>
    </p:spTree>
    <p:extLst>
      <p:ext uri="{BB962C8B-B14F-4D97-AF65-F5344CB8AC3E}">
        <p14:creationId xmlns:p14="http://schemas.microsoft.com/office/powerpoint/2010/main" val="2513890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7DE8C-D9D8-5CC7-626F-AEA5485D7C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0EA2464-83A5-DBCC-DBCF-23C93A26CF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0447" y="0"/>
            <a:ext cx="6831106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Freihand 1">
                <a:extLst>
                  <a:ext uri="{FF2B5EF4-FFF2-40B4-BE49-F238E27FC236}">
                    <a16:creationId xmlns:a16="http://schemas.microsoft.com/office/drawing/2014/main" id="{E65B3FCE-A765-E966-A133-D3FEBBB59D00}"/>
                  </a:ext>
                </a:extLst>
              </p14:cNvPr>
              <p14:cNvContentPartPr/>
              <p14:nvPr/>
            </p14:nvContentPartPr>
            <p14:xfrm>
              <a:off x="3837974" y="5693785"/>
              <a:ext cx="390240" cy="254520"/>
            </p14:xfrm>
          </p:contentPart>
        </mc:Choice>
        <mc:Fallback xmlns="">
          <p:pic>
            <p:nvPicPr>
              <p:cNvPr id="2" name="Freihand 1">
                <a:extLst>
                  <a:ext uri="{FF2B5EF4-FFF2-40B4-BE49-F238E27FC236}">
                    <a16:creationId xmlns:a16="http://schemas.microsoft.com/office/drawing/2014/main" id="{E65B3FCE-A765-E966-A133-D3FEBBB59D0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783974" y="5585785"/>
                <a:ext cx="497880" cy="470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3FDFB3F3-AF67-78FD-AA92-9C2F67F28171}"/>
                  </a:ext>
                </a:extLst>
              </p14:cNvPr>
              <p14:cNvContentPartPr/>
              <p14:nvPr/>
            </p14:nvContentPartPr>
            <p14:xfrm>
              <a:off x="5803214" y="5620705"/>
              <a:ext cx="607680" cy="474480"/>
            </p14:xfrm>
          </p:contentPart>
        </mc:Choice>
        <mc:Fallback xmlns=""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3FDFB3F3-AF67-78FD-AA92-9C2F67F2817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749574" y="5512705"/>
                <a:ext cx="715320" cy="690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43595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34C74-92FA-B974-840E-324F02B48A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7CD20386-B1DF-FA07-0650-431698835B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6131" y="0"/>
            <a:ext cx="6761779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Freihand 1">
                <a:extLst>
                  <a:ext uri="{FF2B5EF4-FFF2-40B4-BE49-F238E27FC236}">
                    <a16:creationId xmlns:a16="http://schemas.microsoft.com/office/drawing/2014/main" id="{F6FCE7E7-4879-1508-9D2F-F724143365D1}"/>
                  </a:ext>
                </a:extLst>
              </p14:cNvPr>
              <p14:cNvContentPartPr/>
              <p14:nvPr/>
            </p14:nvContentPartPr>
            <p14:xfrm>
              <a:off x="7935134" y="1095198"/>
              <a:ext cx="231120" cy="3960"/>
            </p14:xfrm>
          </p:contentPart>
        </mc:Choice>
        <mc:Fallback xmlns="">
          <p:pic>
            <p:nvPicPr>
              <p:cNvPr id="2" name="Freihand 1">
                <a:extLst>
                  <a:ext uri="{FF2B5EF4-FFF2-40B4-BE49-F238E27FC236}">
                    <a16:creationId xmlns:a16="http://schemas.microsoft.com/office/drawing/2014/main" id="{F6FCE7E7-4879-1508-9D2F-F724143365D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81494" y="987558"/>
                <a:ext cx="338760" cy="219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Freihand 2">
                <a:extLst>
                  <a:ext uri="{FF2B5EF4-FFF2-40B4-BE49-F238E27FC236}">
                    <a16:creationId xmlns:a16="http://schemas.microsoft.com/office/drawing/2014/main" id="{F7C9A8D0-9E6F-66B7-9B87-3AE568EEABA7}"/>
                  </a:ext>
                </a:extLst>
              </p14:cNvPr>
              <p14:cNvContentPartPr/>
              <p14:nvPr/>
            </p14:nvContentPartPr>
            <p14:xfrm>
              <a:off x="7850174" y="2091318"/>
              <a:ext cx="326880" cy="127440"/>
            </p14:xfrm>
          </p:contentPart>
        </mc:Choice>
        <mc:Fallback xmlns="">
          <p:pic>
            <p:nvPicPr>
              <p:cNvPr id="3" name="Freihand 2">
                <a:extLst>
                  <a:ext uri="{FF2B5EF4-FFF2-40B4-BE49-F238E27FC236}">
                    <a16:creationId xmlns:a16="http://schemas.microsoft.com/office/drawing/2014/main" id="{F7C9A8D0-9E6F-66B7-9B87-3AE568EEABA7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796534" y="1983318"/>
                <a:ext cx="434520" cy="34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Freihand 3">
                <a:extLst>
                  <a:ext uri="{FF2B5EF4-FFF2-40B4-BE49-F238E27FC236}">
                    <a16:creationId xmlns:a16="http://schemas.microsoft.com/office/drawing/2014/main" id="{CC4B4ED8-D35E-6577-6520-11A2F1AC68BD}"/>
                  </a:ext>
                </a:extLst>
              </p14:cNvPr>
              <p14:cNvContentPartPr/>
              <p14:nvPr/>
            </p14:nvContentPartPr>
            <p14:xfrm>
              <a:off x="6382454" y="1575078"/>
              <a:ext cx="443160" cy="360"/>
            </p14:xfrm>
          </p:contentPart>
        </mc:Choice>
        <mc:Fallback xmlns="">
          <p:pic>
            <p:nvPicPr>
              <p:cNvPr id="4" name="Freihand 3">
                <a:extLst>
                  <a:ext uri="{FF2B5EF4-FFF2-40B4-BE49-F238E27FC236}">
                    <a16:creationId xmlns:a16="http://schemas.microsoft.com/office/drawing/2014/main" id="{CC4B4ED8-D35E-6577-6520-11A2F1AC68BD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328454" y="1467078"/>
                <a:ext cx="5508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B7BCED15-8230-19BF-AE86-7FE5DF1BC8D8}"/>
                  </a:ext>
                </a:extLst>
              </p14:cNvPr>
              <p14:cNvContentPartPr/>
              <p14:nvPr/>
            </p14:nvContentPartPr>
            <p14:xfrm>
              <a:off x="3420734" y="3584598"/>
              <a:ext cx="1126080" cy="1270080"/>
            </p14:xfrm>
          </p:contentPart>
        </mc:Choice>
        <mc:Fallback xmlns=""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B7BCED15-8230-19BF-AE86-7FE5DF1BC8D8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402734" y="3566598"/>
                <a:ext cx="1161720" cy="13057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52296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03CA4-CB5D-10F9-03D0-76D8898EE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4978E65A-6638-C2FD-B400-7F7BDCA69BC1}"/>
                  </a:ext>
                </a:extLst>
              </p14:cNvPr>
              <p14:cNvContentPartPr/>
              <p14:nvPr/>
            </p14:nvContentPartPr>
            <p14:xfrm>
              <a:off x="2109254" y="5323038"/>
              <a:ext cx="360" cy="360"/>
            </p14:xfrm>
          </p:contentPart>
        </mc:Choice>
        <mc:Fallback xmlns=""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4978E65A-6638-C2FD-B400-7F7BDCA69BC1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091254" y="5305398"/>
                <a:ext cx="36000" cy="36000"/>
              </a:xfrm>
              <a:prstGeom prst="rect">
                <a:avLst/>
              </a:prstGeom>
            </p:spPr>
          </p:pic>
        </mc:Fallback>
      </mc:AlternateContent>
      <p:pic>
        <p:nvPicPr>
          <p:cNvPr id="13" name="Grafik 12">
            <a:extLst>
              <a:ext uri="{FF2B5EF4-FFF2-40B4-BE49-F238E27FC236}">
                <a16:creationId xmlns:a16="http://schemas.microsoft.com/office/drawing/2014/main" id="{42D1B4EF-19C6-CAE2-C9CD-299205FDAF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8522" y="2828841"/>
            <a:ext cx="6134956" cy="120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70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B57CE-7CC9-9A3D-999F-46C9643732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B9B16A2-ED70-2CE0-2FA9-50C2BA980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7629"/>
            <a:ext cx="7617296" cy="160746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3B4BD6B-6B1E-B7EE-A3B3-75B264ACC8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0592" y="1502858"/>
            <a:ext cx="6533107" cy="535514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4D1DCB6-FEBB-1384-DD7E-181875973695}"/>
              </a:ext>
            </a:extLst>
          </p:cNvPr>
          <p:cNvSpPr txBox="1"/>
          <p:nvPr/>
        </p:nvSpPr>
        <p:spPr>
          <a:xfrm>
            <a:off x="9684663" y="6488668"/>
            <a:ext cx="245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019-04-11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32B8BB7E-B2F6-8582-546A-9310F5E39E14}"/>
                  </a:ext>
                </a:extLst>
              </p14:cNvPr>
              <p14:cNvContentPartPr/>
              <p14:nvPr/>
            </p14:nvContentPartPr>
            <p14:xfrm>
              <a:off x="3551323" y="1803369"/>
              <a:ext cx="181440" cy="74520"/>
            </p14:xfrm>
          </p:contentPart>
        </mc:Choice>
        <mc:Fallback xmlns=""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32B8BB7E-B2F6-8582-546A-9310F5E39E1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97323" y="1695729"/>
                <a:ext cx="289080" cy="29016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Rechteck 5">
            <a:extLst>
              <a:ext uri="{FF2B5EF4-FFF2-40B4-BE49-F238E27FC236}">
                <a16:creationId xmlns:a16="http://schemas.microsoft.com/office/drawing/2014/main" id="{41CA35B4-06C1-DEBC-86D1-C3E3582B9CE0}"/>
              </a:ext>
            </a:extLst>
          </p:cNvPr>
          <p:cNvSpPr/>
          <p:nvPr/>
        </p:nvSpPr>
        <p:spPr>
          <a:xfrm>
            <a:off x="1712640" y="2620736"/>
            <a:ext cx="5616624" cy="383260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b="1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BF0CBF0-EFC2-0A37-BDEE-DD1B177A55E1}"/>
              </a:ext>
            </a:extLst>
          </p:cNvPr>
          <p:cNvCxnSpPr/>
          <p:nvPr/>
        </p:nvCxnSpPr>
        <p:spPr>
          <a:xfrm>
            <a:off x="1698171" y="2906486"/>
            <a:ext cx="669472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2D61A3A5-EAD2-C0F1-BA5D-199A238B25A5}"/>
              </a:ext>
            </a:extLst>
          </p:cNvPr>
          <p:cNvCxnSpPr/>
          <p:nvPr/>
        </p:nvCxnSpPr>
        <p:spPr>
          <a:xfrm>
            <a:off x="2522764" y="2620736"/>
            <a:ext cx="0" cy="146957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CDD8C60-3386-E73A-35E2-C17D3FD054F9}"/>
              </a:ext>
            </a:extLst>
          </p:cNvPr>
          <p:cNvCxnSpPr/>
          <p:nvPr/>
        </p:nvCxnSpPr>
        <p:spPr>
          <a:xfrm flipV="1">
            <a:off x="2367643" y="2767693"/>
            <a:ext cx="155121" cy="138793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E95112C2-D502-CE77-E305-4FBAB00E48F1}"/>
              </a:ext>
            </a:extLst>
          </p:cNvPr>
          <p:cNvSpPr txBox="1"/>
          <p:nvPr/>
        </p:nvSpPr>
        <p:spPr>
          <a:xfrm>
            <a:off x="1712639" y="2620736"/>
            <a:ext cx="8101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Loop(5s)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C2B5E1F2-D76A-3F52-B94B-264C2959CCFD}"/>
                  </a:ext>
                </a:extLst>
              </p14:cNvPr>
              <p14:cNvContentPartPr/>
              <p14:nvPr/>
            </p14:nvContentPartPr>
            <p14:xfrm>
              <a:off x="1803883" y="135489"/>
              <a:ext cx="739800" cy="3600"/>
            </p14:xfrm>
          </p:contentPart>
        </mc:Choice>
        <mc:Fallback xmlns=""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C2B5E1F2-D76A-3F52-B94B-264C2959CCF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750243" y="27489"/>
                <a:ext cx="847440" cy="219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772ABA7B-292E-6572-D700-98A4AA164B84}"/>
                  </a:ext>
                </a:extLst>
              </p14:cNvPr>
              <p14:cNvContentPartPr/>
              <p14:nvPr/>
            </p14:nvContentPartPr>
            <p14:xfrm>
              <a:off x="1845283" y="2767449"/>
              <a:ext cx="484200" cy="57600"/>
            </p14:xfrm>
          </p:contentPart>
        </mc:Choice>
        <mc:Fallback xmlns=""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772ABA7B-292E-6572-D700-98A4AA164B84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791283" y="2659449"/>
                <a:ext cx="591840" cy="273240"/>
              </a:xfrm>
              <a:prstGeom prst="rect">
                <a:avLst/>
              </a:prstGeom>
            </p:spPr>
          </p:pic>
        </mc:Fallback>
      </mc:AlternateContent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107E498-8D40-F647-BDE1-27E807496B13}"/>
              </a:ext>
            </a:extLst>
          </p:cNvPr>
          <p:cNvCxnSpPr/>
          <p:nvPr/>
        </p:nvCxnSpPr>
        <p:spPr>
          <a:xfrm>
            <a:off x="3224808" y="2780928"/>
            <a:ext cx="2376264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67A2E72A-98BA-14DF-1369-3D4B1C6E294D}"/>
              </a:ext>
            </a:extLst>
          </p:cNvPr>
          <p:cNvSpPr txBox="1"/>
          <p:nvPr/>
        </p:nvSpPr>
        <p:spPr>
          <a:xfrm>
            <a:off x="3534899" y="2508414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pulsmessen(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B0E651C-DA9A-BE71-92EC-D90A32BE02BD}"/>
              </a:ext>
            </a:extLst>
          </p:cNvPr>
          <p:cNvSpPr/>
          <p:nvPr/>
        </p:nvSpPr>
        <p:spPr>
          <a:xfrm>
            <a:off x="5601072" y="2750021"/>
            <a:ext cx="144016" cy="5760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b="1">
              <a:solidFill>
                <a:schemeClr val="tx1"/>
              </a:solidFill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080E8D5C-1399-27B0-FAD1-F30C0A4BCEBA}"/>
              </a:ext>
            </a:extLst>
          </p:cNvPr>
          <p:cNvCxnSpPr/>
          <p:nvPr/>
        </p:nvCxnSpPr>
        <p:spPr>
          <a:xfrm flipH="1">
            <a:off x="3224808" y="3326085"/>
            <a:ext cx="2448272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3812370-C3EE-853F-D556-5715D6441E20}"/>
              </a:ext>
            </a:extLst>
          </p:cNvPr>
          <p:cNvSpPr txBox="1"/>
          <p:nvPr/>
        </p:nvSpPr>
        <p:spPr>
          <a:xfrm>
            <a:off x="3609028" y="3017159"/>
            <a:ext cx="8277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pul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4028634-65A8-D191-D110-EE85C7195C8E}"/>
              </a:ext>
            </a:extLst>
          </p:cNvPr>
          <p:cNvSpPr/>
          <p:nvPr/>
        </p:nvSpPr>
        <p:spPr>
          <a:xfrm>
            <a:off x="2288704" y="3645024"/>
            <a:ext cx="4464496" cy="237626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b="1">
              <a:solidFill>
                <a:schemeClr val="tx1"/>
              </a:solidFill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4B9E5D0-7102-F840-CBCA-7935BC9D649D}"/>
              </a:ext>
            </a:extLst>
          </p:cNvPr>
          <p:cNvCxnSpPr>
            <a:stCxn id="21" idx="1"/>
            <a:endCxn id="21" idx="3"/>
          </p:cNvCxnSpPr>
          <p:nvPr/>
        </p:nvCxnSpPr>
        <p:spPr>
          <a:xfrm>
            <a:off x="2288704" y="4833156"/>
            <a:ext cx="446449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DE8632C2-C338-824C-0773-EC362D1CAF6C}"/>
              </a:ext>
            </a:extLst>
          </p:cNvPr>
          <p:cNvCxnSpPr/>
          <p:nvPr/>
        </p:nvCxnSpPr>
        <p:spPr>
          <a:xfrm>
            <a:off x="2288704" y="3918857"/>
            <a:ext cx="332032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5905E8D3-74D7-9C49-D092-BAA0D0D71420}"/>
              </a:ext>
            </a:extLst>
          </p:cNvPr>
          <p:cNvCxnSpPr/>
          <p:nvPr/>
        </p:nvCxnSpPr>
        <p:spPr>
          <a:xfrm>
            <a:off x="2743200" y="3645024"/>
            <a:ext cx="0" cy="118712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98F4DBB7-3414-CF45-2891-B8ECF8A53B7F}"/>
              </a:ext>
            </a:extLst>
          </p:cNvPr>
          <p:cNvCxnSpPr/>
          <p:nvPr/>
        </p:nvCxnSpPr>
        <p:spPr>
          <a:xfrm flipV="1">
            <a:off x="2620736" y="3763736"/>
            <a:ext cx="122464" cy="155121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F6CDD7F0-F948-58BB-D92C-E8FD8BA2321C}"/>
              </a:ext>
            </a:extLst>
          </p:cNvPr>
          <p:cNvSpPr txBox="1"/>
          <p:nvPr/>
        </p:nvSpPr>
        <p:spPr>
          <a:xfrm>
            <a:off x="2325249" y="3632800"/>
            <a:ext cx="8101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Al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C561C7A-F675-0AEF-EB5D-7D509C540756}"/>
              </a:ext>
            </a:extLst>
          </p:cNvPr>
          <p:cNvSpPr/>
          <p:nvPr/>
        </p:nvSpPr>
        <p:spPr>
          <a:xfrm>
            <a:off x="2741754" y="3763644"/>
            <a:ext cx="1512168" cy="2963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chemeClr val="tx1"/>
                </a:solidFill>
              </a:rPr>
              <a:t>[puls &gt; </a:t>
            </a:r>
            <a:r>
              <a:rPr lang="de-DE" sz="1400" dirty="0" err="1">
                <a:solidFill>
                  <a:schemeClr val="tx1"/>
                </a:solidFill>
              </a:rPr>
              <a:t>maxPuls</a:t>
            </a:r>
            <a:r>
              <a:rPr lang="de-DE" sz="1400" dirty="0">
                <a:solidFill>
                  <a:schemeClr val="tx1"/>
                </a:solidFill>
              </a:rPr>
              <a:t>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AEF74F7-607D-94D8-D873-82D683D0B281}"/>
              </a:ext>
            </a:extLst>
          </p:cNvPr>
          <p:cNvSpPr/>
          <p:nvPr/>
        </p:nvSpPr>
        <p:spPr>
          <a:xfrm>
            <a:off x="5637076" y="4291437"/>
            <a:ext cx="180020" cy="3596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b="1">
              <a:solidFill>
                <a:schemeClr val="tx1"/>
              </a:solidFill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847B466-08CD-E467-8248-4122D2005CB8}"/>
              </a:ext>
            </a:extLst>
          </p:cNvPr>
          <p:cNvCxnSpPr>
            <a:cxnSpLocks/>
          </p:cNvCxnSpPr>
          <p:nvPr/>
        </p:nvCxnSpPr>
        <p:spPr>
          <a:xfrm>
            <a:off x="3224808" y="4293096"/>
            <a:ext cx="2376264" cy="16856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2D4BD639-9E51-45CF-F2B4-53990980616E}"/>
              </a:ext>
            </a:extLst>
          </p:cNvPr>
          <p:cNvCxnSpPr>
            <a:stCxn id="32" idx="2"/>
          </p:cNvCxnSpPr>
          <p:nvPr/>
        </p:nvCxnSpPr>
        <p:spPr>
          <a:xfrm flipH="1" flipV="1">
            <a:off x="3224808" y="4631909"/>
            <a:ext cx="2502278" cy="19205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02DC729C-79E3-95C9-CE23-B2080BC285BD}"/>
              </a:ext>
            </a:extLst>
          </p:cNvPr>
          <p:cNvSpPr txBox="1"/>
          <p:nvPr/>
        </p:nvSpPr>
        <p:spPr>
          <a:xfrm>
            <a:off x="4118606" y="4041486"/>
            <a:ext cx="2624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vermindereStufe</a:t>
            </a:r>
            <a:r>
              <a:rPr lang="de-DE" sz="1200" dirty="0"/>
              <a:t>()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F7D61C9E-5225-464A-6A8F-F94C54065E79}"/>
              </a:ext>
            </a:extLst>
          </p:cNvPr>
          <p:cNvSpPr/>
          <p:nvPr/>
        </p:nvSpPr>
        <p:spPr>
          <a:xfrm>
            <a:off x="2795239" y="5241472"/>
            <a:ext cx="1512168" cy="2963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>
                <a:solidFill>
                  <a:schemeClr val="tx1"/>
                </a:solidFill>
              </a:rPr>
              <a:t>[else]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38" name="Freihand 37">
                <a:extLst>
                  <a:ext uri="{FF2B5EF4-FFF2-40B4-BE49-F238E27FC236}">
                    <a16:creationId xmlns:a16="http://schemas.microsoft.com/office/drawing/2014/main" id="{EEA0231B-7551-F990-B41E-0DF9D50B633A}"/>
                  </a:ext>
                </a:extLst>
              </p14:cNvPr>
              <p14:cNvContentPartPr/>
              <p14:nvPr/>
            </p14:nvContentPartPr>
            <p14:xfrm>
              <a:off x="391603" y="489009"/>
              <a:ext cx="408960" cy="9720"/>
            </p14:xfrm>
          </p:contentPart>
        </mc:Choice>
        <mc:Fallback xmlns="">
          <p:pic>
            <p:nvPicPr>
              <p:cNvPr id="38" name="Freihand 37">
                <a:extLst>
                  <a:ext uri="{FF2B5EF4-FFF2-40B4-BE49-F238E27FC236}">
                    <a16:creationId xmlns:a16="http://schemas.microsoft.com/office/drawing/2014/main" id="{EEA0231B-7551-F990-B41E-0DF9D50B633A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37963" y="381369"/>
                <a:ext cx="516600" cy="225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39" name="Freihand 38">
                <a:extLst>
                  <a:ext uri="{FF2B5EF4-FFF2-40B4-BE49-F238E27FC236}">
                    <a16:creationId xmlns:a16="http://schemas.microsoft.com/office/drawing/2014/main" id="{62799818-B260-642F-2F72-65937C0DC580}"/>
                  </a:ext>
                </a:extLst>
              </p14:cNvPr>
              <p14:cNvContentPartPr/>
              <p14:nvPr/>
            </p14:nvContentPartPr>
            <p14:xfrm>
              <a:off x="2359363" y="3779769"/>
              <a:ext cx="327240" cy="41400"/>
            </p14:xfrm>
          </p:contentPart>
        </mc:Choice>
        <mc:Fallback xmlns="">
          <p:pic>
            <p:nvPicPr>
              <p:cNvPr id="39" name="Freihand 38">
                <a:extLst>
                  <a:ext uri="{FF2B5EF4-FFF2-40B4-BE49-F238E27FC236}">
                    <a16:creationId xmlns:a16="http://schemas.microsoft.com/office/drawing/2014/main" id="{62799818-B260-642F-2F72-65937C0DC580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305363" y="3671769"/>
                <a:ext cx="434880" cy="257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40" name="Freihand 39">
                <a:extLst>
                  <a:ext uri="{FF2B5EF4-FFF2-40B4-BE49-F238E27FC236}">
                    <a16:creationId xmlns:a16="http://schemas.microsoft.com/office/drawing/2014/main" id="{41A0025E-C4AE-2AD0-4490-86A667172E58}"/>
                  </a:ext>
                </a:extLst>
              </p14:cNvPr>
              <p14:cNvContentPartPr/>
              <p14:nvPr/>
            </p14:nvContentPartPr>
            <p14:xfrm>
              <a:off x="2661763" y="447249"/>
              <a:ext cx="1407600" cy="43200"/>
            </p14:xfrm>
          </p:contentPart>
        </mc:Choice>
        <mc:Fallback xmlns="">
          <p:pic>
            <p:nvPicPr>
              <p:cNvPr id="40" name="Freihand 39">
                <a:extLst>
                  <a:ext uri="{FF2B5EF4-FFF2-40B4-BE49-F238E27FC236}">
                    <a16:creationId xmlns:a16="http://schemas.microsoft.com/office/drawing/2014/main" id="{41A0025E-C4AE-2AD0-4490-86A667172E58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607763" y="339609"/>
                <a:ext cx="1515240" cy="258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41" name="Freihand 40">
                <a:extLst>
                  <a:ext uri="{FF2B5EF4-FFF2-40B4-BE49-F238E27FC236}">
                    <a16:creationId xmlns:a16="http://schemas.microsoft.com/office/drawing/2014/main" id="{2DFDDFAB-F5FF-C720-7785-D9DE1F336159}"/>
                  </a:ext>
                </a:extLst>
              </p14:cNvPr>
              <p14:cNvContentPartPr/>
              <p14:nvPr/>
            </p14:nvContentPartPr>
            <p14:xfrm>
              <a:off x="2889643" y="3942849"/>
              <a:ext cx="1143360" cy="17280"/>
            </p14:xfrm>
          </p:contentPart>
        </mc:Choice>
        <mc:Fallback xmlns="">
          <p:pic>
            <p:nvPicPr>
              <p:cNvPr id="41" name="Freihand 40">
                <a:extLst>
                  <a:ext uri="{FF2B5EF4-FFF2-40B4-BE49-F238E27FC236}">
                    <a16:creationId xmlns:a16="http://schemas.microsoft.com/office/drawing/2014/main" id="{2DFDDFAB-F5FF-C720-7785-D9DE1F336159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2836003" y="3835209"/>
                <a:ext cx="1251000" cy="232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60063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89DB80-DA1C-6334-EED7-F9BB68F4C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527561F-67D4-3B33-1742-EE73ED58C6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126" y="1861919"/>
            <a:ext cx="6963747" cy="313416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5" name="Freihand 4">
                <a:extLst>
                  <a:ext uri="{FF2B5EF4-FFF2-40B4-BE49-F238E27FC236}">
                    <a16:creationId xmlns:a16="http://schemas.microsoft.com/office/drawing/2014/main" id="{387C2683-A48D-DD68-0612-B967694B70A1}"/>
                  </a:ext>
                </a:extLst>
              </p14:cNvPr>
              <p14:cNvContentPartPr/>
              <p14:nvPr/>
            </p14:nvContentPartPr>
            <p14:xfrm>
              <a:off x="5772163" y="3557649"/>
              <a:ext cx="1147320" cy="43560"/>
            </p14:xfrm>
          </p:contentPart>
        </mc:Choice>
        <mc:Fallback xmlns="">
          <p:pic>
            <p:nvPicPr>
              <p:cNvPr id="5" name="Freihand 4">
                <a:extLst>
                  <a:ext uri="{FF2B5EF4-FFF2-40B4-BE49-F238E27FC236}">
                    <a16:creationId xmlns:a16="http://schemas.microsoft.com/office/drawing/2014/main" id="{387C2683-A48D-DD68-0612-B967694B70A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718163" y="3450009"/>
                <a:ext cx="1254960" cy="259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38977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85C68-652F-8BDA-7A35-7FA1DA4B5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6636C96-D0FC-D2CC-7552-61B2D6946201}"/>
              </a:ext>
            </a:extLst>
          </p:cNvPr>
          <p:cNvSpPr txBox="1"/>
          <p:nvPr/>
        </p:nvSpPr>
        <p:spPr>
          <a:xfrm>
            <a:off x="1461407" y="791936"/>
            <a:ext cx="1583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atenformat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211FA26-208F-C05A-8E9C-EF934D4F11C5}"/>
              </a:ext>
            </a:extLst>
          </p:cNvPr>
          <p:cNvSpPr txBox="1"/>
          <p:nvPr/>
        </p:nvSpPr>
        <p:spPr>
          <a:xfrm>
            <a:off x="1461407" y="1338943"/>
            <a:ext cx="2988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CSV</a:t>
            </a:r>
          </a:p>
          <a:p>
            <a:r>
              <a:rPr lang="de-DE" dirty="0" err="1"/>
              <a:t>Comma-Separated</a:t>
            </a:r>
            <a:r>
              <a:rPr lang="de-DE" dirty="0"/>
              <a:t> Values</a:t>
            </a:r>
          </a:p>
        </p:txBody>
      </p:sp>
      <p:pic>
        <p:nvPicPr>
          <p:cNvPr id="9" name="Grafik 8" descr="Ein Bild, das Text, Elektronik, Screenshot, Display enthält.&#10;&#10;KI-generierte Inhalte können fehlerhaft sein.">
            <a:extLst>
              <a:ext uri="{FF2B5EF4-FFF2-40B4-BE49-F238E27FC236}">
                <a16:creationId xmlns:a16="http://schemas.microsoft.com/office/drawing/2014/main" id="{E95C29A2-CA5E-D4B4-50EA-3AD39FCF36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61" y="2427514"/>
            <a:ext cx="7753350" cy="363855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7976C53E-B1B6-DE84-65C2-EBB81A9C5CCC}"/>
                  </a:ext>
                </a:extLst>
              </p14:cNvPr>
              <p14:cNvContentPartPr/>
              <p14:nvPr/>
            </p14:nvContentPartPr>
            <p14:xfrm>
              <a:off x="685723" y="3045009"/>
              <a:ext cx="5059800" cy="15588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7976C53E-B1B6-DE84-65C2-EBB81A9C5CC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31723" y="2937369"/>
                <a:ext cx="5167440" cy="37152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75314CFF-0D57-CF90-96D0-A12DF3BB7E22}"/>
              </a:ext>
            </a:extLst>
          </p:cNvPr>
          <p:cNvSpPr txBox="1"/>
          <p:nvPr/>
        </p:nvSpPr>
        <p:spPr>
          <a:xfrm>
            <a:off x="8401050" y="791936"/>
            <a:ext cx="29881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eparierungszeichen: </a:t>
            </a:r>
          </a:p>
          <a:p>
            <a:r>
              <a:rPr lang="de-DE" dirty="0"/>
              <a:t>,</a:t>
            </a:r>
          </a:p>
          <a:p>
            <a:r>
              <a:rPr lang="de-DE" dirty="0"/>
              <a:t>;</a:t>
            </a:r>
          </a:p>
          <a:p>
            <a:r>
              <a:rPr lang="de-DE" dirty="0"/>
              <a:t>|</a:t>
            </a:r>
          </a:p>
          <a:p>
            <a:r>
              <a:rPr lang="de-DE" dirty="0"/>
              <a:t>/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9633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94C20508E2C0545B9175DAD24EE0DF7" ma:contentTypeVersion="10" ma:contentTypeDescription="Ein neues Dokument erstellen." ma:contentTypeScope="" ma:versionID="5e1d670fd1b64ee029b7646d9c18d9be">
  <xsd:schema xmlns:xsd="http://www.w3.org/2001/XMLSchema" xmlns:xs="http://www.w3.org/2001/XMLSchema" xmlns:p="http://schemas.microsoft.com/office/2006/metadata/properties" xmlns:ns2="761da866-3664-4ca3-b110-8608fed9955d" xmlns:ns3="5a7fe788-3ed4-4d56-9811-7216245dac7c" targetNamespace="http://schemas.microsoft.com/office/2006/metadata/properties" ma:root="true" ma:fieldsID="c17b284b0f56111151f293c6a8c96192" ns2:_="" ns3:_="">
    <xsd:import namespace="761da866-3664-4ca3-b110-8608fed9955d"/>
    <xsd:import namespace="5a7fe788-3ed4-4d56-9811-7216245dac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1da866-3664-4ca3-b110-8608fed995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310c5fd4-b598-4459-8105-2a281347ce2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7fe788-3ed4-4d56-9811-7216245dac7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549c7db-bee4-411b-8e0f-18d660166b2d}" ma:internalName="TaxCatchAll" ma:showField="CatchAllData" ma:web="5a7fe788-3ed4-4d56-9811-7216245dac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61da866-3664-4ca3-b110-8608fed9955d">
      <Terms xmlns="http://schemas.microsoft.com/office/infopath/2007/PartnerControls"/>
    </lcf76f155ced4ddcb4097134ff3c332f>
    <TaxCatchAll xmlns="5a7fe788-3ed4-4d56-9811-7216245dac7c" xsi:nil="true"/>
  </documentManagement>
</p:properties>
</file>

<file path=customXml/itemProps1.xml><?xml version="1.0" encoding="utf-8"?>
<ds:datastoreItem xmlns:ds="http://schemas.openxmlformats.org/officeDocument/2006/customXml" ds:itemID="{5F18E3B5-F771-4CED-911B-5C7F7E381039}"/>
</file>

<file path=customXml/itemProps2.xml><?xml version="1.0" encoding="utf-8"?>
<ds:datastoreItem xmlns:ds="http://schemas.openxmlformats.org/officeDocument/2006/customXml" ds:itemID="{074FBA66-679E-4D66-9077-76AF8507CDC4}"/>
</file>

<file path=customXml/itemProps3.xml><?xml version="1.0" encoding="utf-8"?>
<ds:datastoreItem xmlns:ds="http://schemas.openxmlformats.org/officeDocument/2006/customXml" ds:itemID="{C2DAC2EE-03CA-4A69-9503-229E9370D017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6</Words>
  <Application>Microsoft Office PowerPoint</Application>
  <PresentationFormat>Breitbild</PresentationFormat>
  <Paragraphs>342</Paragraphs>
  <Slides>3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42" baseType="lpstr">
      <vt:lpstr>Aptos</vt:lpstr>
      <vt:lpstr>Arial</vt:lpstr>
      <vt:lpstr>Calibri</vt:lpstr>
      <vt:lpstr>Calibri Light</vt:lpstr>
      <vt:lpstr>Courier New</vt:lpstr>
      <vt:lpstr>Tahoma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rtholot</dc:creator>
  <cp:lastModifiedBy>Peter Bartholot</cp:lastModifiedBy>
  <cp:revision>55</cp:revision>
  <dcterms:created xsi:type="dcterms:W3CDTF">2023-03-08T11:59:58Z</dcterms:created>
  <dcterms:modified xsi:type="dcterms:W3CDTF">2025-09-26T10:4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4C20508E2C0545B9175DAD24EE0DF7</vt:lpwstr>
  </property>
</Properties>
</file>